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2"/>
  </p:notesMasterIdLst>
  <p:handoutMasterIdLst>
    <p:handoutMasterId r:id="rId53"/>
  </p:handoutMasterIdLst>
  <p:sldIdLst>
    <p:sldId id="256" r:id="rId2"/>
    <p:sldId id="1031" r:id="rId3"/>
    <p:sldId id="322" r:id="rId4"/>
    <p:sldId id="1094" r:id="rId5"/>
    <p:sldId id="1103" r:id="rId6"/>
    <p:sldId id="257" r:id="rId7"/>
    <p:sldId id="258" r:id="rId8"/>
    <p:sldId id="261" r:id="rId9"/>
    <p:sldId id="512" r:id="rId10"/>
    <p:sldId id="1095" r:id="rId11"/>
    <p:sldId id="1042" r:id="rId12"/>
    <p:sldId id="1096" r:id="rId13"/>
    <p:sldId id="1098" r:id="rId14"/>
    <p:sldId id="1109" r:id="rId15"/>
    <p:sldId id="1110" r:id="rId16"/>
    <p:sldId id="1111" r:id="rId17"/>
    <p:sldId id="1107" r:id="rId18"/>
    <p:sldId id="1108" r:id="rId19"/>
    <p:sldId id="1105" r:id="rId20"/>
    <p:sldId id="1106" r:id="rId21"/>
    <p:sldId id="1099" r:id="rId22"/>
    <p:sldId id="1104" r:id="rId23"/>
    <p:sldId id="1101" r:id="rId24"/>
    <p:sldId id="268" r:id="rId25"/>
    <p:sldId id="271" r:id="rId26"/>
    <p:sldId id="278" r:id="rId27"/>
    <p:sldId id="1102" r:id="rId28"/>
    <p:sldId id="279" r:id="rId29"/>
    <p:sldId id="274" r:id="rId30"/>
    <p:sldId id="307" r:id="rId31"/>
    <p:sldId id="304" r:id="rId32"/>
    <p:sldId id="310" r:id="rId33"/>
    <p:sldId id="306" r:id="rId34"/>
    <p:sldId id="1092" r:id="rId35"/>
    <p:sldId id="1093" r:id="rId36"/>
    <p:sldId id="1036" r:id="rId37"/>
    <p:sldId id="509" r:id="rId38"/>
    <p:sldId id="1050" r:id="rId39"/>
    <p:sldId id="282" r:id="rId40"/>
    <p:sldId id="283" r:id="rId41"/>
    <p:sldId id="284" r:id="rId42"/>
    <p:sldId id="285" r:id="rId43"/>
    <p:sldId id="289" r:id="rId44"/>
    <p:sldId id="286" r:id="rId45"/>
    <p:sldId id="513" r:id="rId46"/>
    <p:sldId id="514" r:id="rId47"/>
    <p:sldId id="518" r:id="rId48"/>
    <p:sldId id="515" r:id="rId49"/>
    <p:sldId id="290" r:id="rId50"/>
    <p:sldId id="506" r:id="rId51"/>
  </p:sldIdLst>
  <p:sldSz cx="9144000" cy="5143500" type="screen16x9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7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B7DFA"/>
    <a:srgbClr val="0019AF"/>
    <a:srgbClr val="898989"/>
    <a:srgbClr val="FFFFFF"/>
    <a:srgbClr val="3AA6E8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311" autoAdjust="0"/>
    <p:restoredTop sz="94660"/>
  </p:normalViewPr>
  <p:slideViewPr>
    <p:cSldViewPr>
      <p:cViewPr varScale="1">
        <p:scale>
          <a:sx n="129" d="100"/>
          <a:sy n="129" d="100"/>
        </p:scale>
        <p:origin x="200" y="224"/>
      </p:cViewPr>
      <p:guideLst>
        <p:guide orient="horz" pos="66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1" d="100"/>
        <a:sy n="121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3132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svg"/><Relationship Id="rId1" Type="http://schemas.openxmlformats.org/officeDocument/2006/relationships/image" Target="../media/image22.png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svg"/><Relationship Id="rId1" Type="http://schemas.openxmlformats.org/officeDocument/2006/relationships/image" Target="../media/image29.png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svg"/><Relationship Id="rId1" Type="http://schemas.openxmlformats.org/officeDocument/2006/relationships/image" Target="../media/image22.png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svg"/><Relationship Id="rId1" Type="http://schemas.openxmlformats.org/officeDocument/2006/relationships/image" Target="../media/image29.png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4_2">
  <dgm:title val=""/>
  <dgm:desc val=""/>
  <dgm:catLst>
    <dgm:cat type="accent4" pri="14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4_2">
  <dgm:title val=""/>
  <dgm:desc val=""/>
  <dgm:catLst>
    <dgm:cat type="accent4" pri="14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743656-C45A-4F89-AB0E-77A61B3E2368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4F30D02-B30F-477F-8382-6BD4894DB54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/>
            <a:t>Tech – changes rapidly</a:t>
          </a:r>
          <a:endParaRPr lang="en-US" dirty="0"/>
        </a:p>
      </dgm:t>
    </dgm:pt>
    <dgm:pt modelId="{B82FD2E4-4A22-401A-92BE-345D9E6CED08}" type="parTrans" cxnId="{20395DC3-7C60-4E90-89BD-DA74BCEEAAE6}">
      <dgm:prSet/>
      <dgm:spPr/>
      <dgm:t>
        <a:bodyPr/>
        <a:lstStyle/>
        <a:p>
          <a:endParaRPr lang="en-US"/>
        </a:p>
      </dgm:t>
    </dgm:pt>
    <dgm:pt modelId="{AE4ECE81-7DC8-4657-818B-91338CDB7089}" type="sibTrans" cxnId="{20395DC3-7C60-4E90-89BD-DA74BCEEAAE6}">
      <dgm:prSet/>
      <dgm:spPr/>
      <dgm:t>
        <a:bodyPr/>
        <a:lstStyle/>
        <a:p>
          <a:endParaRPr lang="en-US"/>
        </a:p>
      </dgm:t>
    </dgm:pt>
    <dgm:pt modelId="{F70DE8D4-8942-4DBF-8E97-0234C2FD80F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Full stack</a:t>
          </a:r>
          <a:endParaRPr lang="en-US"/>
        </a:p>
      </dgm:t>
    </dgm:pt>
    <dgm:pt modelId="{C7714BC0-032F-4825-8CEB-DF490B22DD90}" type="parTrans" cxnId="{E94E91AC-4F4F-49FE-AC20-689BD9D556FE}">
      <dgm:prSet/>
      <dgm:spPr/>
      <dgm:t>
        <a:bodyPr/>
        <a:lstStyle/>
        <a:p>
          <a:endParaRPr lang="en-US"/>
        </a:p>
      </dgm:t>
    </dgm:pt>
    <dgm:pt modelId="{0807D0C1-B2BA-4955-AF13-360D2CD54EF4}" type="sibTrans" cxnId="{E94E91AC-4F4F-49FE-AC20-689BD9D556FE}">
      <dgm:prSet/>
      <dgm:spPr/>
      <dgm:t>
        <a:bodyPr/>
        <a:lstStyle/>
        <a:p>
          <a:endParaRPr lang="en-US"/>
        </a:p>
      </dgm:t>
    </dgm:pt>
    <dgm:pt modelId="{346C0F89-DF9A-47E9-9CE5-CEB0B2E2937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Programming languages: </a:t>
          </a:r>
          <a:r>
            <a:rPr lang="en-GB" dirty="0" err="1"/>
            <a:t>Javascript</a:t>
          </a:r>
          <a:r>
            <a:rPr lang="en-GB" dirty="0"/>
            <a:t>, Python, Java, others</a:t>
          </a:r>
          <a:endParaRPr lang="en-US" dirty="0"/>
        </a:p>
      </dgm:t>
    </dgm:pt>
    <dgm:pt modelId="{F6AB423C-0101-4C13-9FB4-5E2FAEDB297E}" type="parTrans" cxnId="{DC992B42-99F6-46F3-ABCC-B2C5471DD587}">
      <dgm:prSet/>
      <dgm:spPr/>
      <dgm:t>
        <a:bodyPr/>
        <a:lstStyle/>
        <a:p>
          <a:endParaRPr lang="en-US"/>
        </a:p>
      </dgm:t>
    </dgm:pt>
    <dgm:pt modelId="{2E47E1B7-379F-4B50-B6B3-3105CAB64EE2}" type="sibTrans" cxnId="{DC992B42-99F6-46F3-ABCC-B2C5471DD587}">
      <dgm:prSet/>
      <dgm:spPr/>
      <dgm:t>
        <a:bodyPr/>
        <a:lstStyle/>
        <a:p>
          <a:endParaRPr lang="en-US"/>
        </a:p>
      </dgm:t>
    </dgm:pt>
    <dgm:pt modelId="{CC5ACFDC-AE31-4765-90B7-968A682AC57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Mobile application development skills: iOS, Android</a:t>
          </a:r>
          <a:endParaRPr lang="en-US"/>
        </a:p>
      </dgm:t>
    </dgm:pt>
    <dgm:pt modelId="{E00E8054-43B7-48B8-B07B-1F795D6A5CB7}" type="parTrans" cxnId="{2D878AFB-4EA1-4764-8838-14B347CB43D7}">
      <dgm:prSet/>
      <dgm:spPr/>
      <dgm:t>
        <a:bodyPr/>
        <a:lstStyle/>
        <a:p>
          <a:endParaRPr lang="en-US"/>
        </a:p>
      </dgm:t>
    </dgm:pt>
    <dgm:pt modelId="{F06B6961-CEF4-471F-A457-B4C609947403}" type="sibTrans" cxnId="{2D878AFB-4EA1-4764-8838-14B347CB43D7}">
      <dgm:prSet/>
      <dgm:spPr/>
      <dgm:t>
        <a:bodyPr/>
        <a:lstStyle/>
        <a:p>
          <a:endParaRPr lang="en-US"/>
        </a:p>
      </dgm:t>
    </dgm:pt>
    <dgm:pt modelId="{3BB45D02-EE4D-47C3-9969-CBC3D6782A10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UX, AI, Data science</a:t>
          </a:r>
          <a:endParaRPr lang="en-US" dirty="0"/>
        </a:p>
      </dgm:t>
    </dgm:pt>
    <dgm:pt modelId="{0CBA02D7-1C9C-45B7-8CE3-6562BE9DB6C0}" type="parTrans" cxnId="{0A5F59CF-F3AB-4E62-B282-AE61134406A7}">
      <dgm:prSet/>
      <dgm:spPr/>
      <dgm:t>
        <a:bodyPr/>
        <a:lstStyle/>
        <a:p>
          <a:endParaRPr lang="en-US"/>
        </a:p>
      </dgm:t>
    </dgm:pt>
    <dgm:pt modelId="{98A40FEA-BD8A-418B-BB8A-85677080A8B4}" type="sibTrans" cxnId="{0A5F59CF-F3AB-4E62-B282-AE61134406A7}">
      <dgm:prSet/>
      <dgm:spPr/>
      <dgm:t>
        <a:bodyPr/>
        <a:lstStyle/>
        <a:p>
          <a:endParaRPr lang="en-US"/>
        </a:p>
      </dgm:t>
    </dgm:pt>
    <dgm:pt modelId="{EC3B553A-BFFA-44E8-BECF-6E63829B1EC1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/>
            <a:t>Mindset – more constant</a:t>
          </a:r>
          <a:endParaRPr lang="en-US" dirty="0"/>
        </a:p>
      </dgm:t>
    </dgm:pt>
    <dgm:pt modelId="{A7CC7D4F-D4B3-4110-9CE0-4FFBFDE1A0F2}" type="parTrans" cxnId="{845322D6-F28C-48B7-9674-622295F8E2F1}">
      <dgm:prSet/>
      <dgm:spPr/>
      <dgm:t>
        <a:bodyPr/>
        <a:lstStyle/>
        <a:p>
          <a:endParaRPr lang="en-US"/>
        </a:p>
      </dgm:t>
    </dgm:pt>
    <dgm:pt modelId="{4E5CE477-E939-4BF3-8EAE-6C84364E90C1}" type="sibTrans" cxnId="{845322D6-F28C-48B7-9674-622295F8E2F1}">
      <dgm:prSet/>
      <dgm:spPr/>
      <dgm:t>
        <a:bodyPr/>
        <a:lstStyle/>
        <a:p>
          <a:endParaRPr lang="en-US"/>
        </a:p>
      </dgm:t>
    </dgm:pt>
    <dgm:pt modelId="{33CB6C21-2EAB-4F07-8196-30B67B9A9BFF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Agile…</a:t>
          </a:r>
          <a:endParaRPr lang="en-US" dirty="0"/>
        </a:p>
      </dgm:t>
    </dgm:pt>
    <dgm:pt modelId="{48A5200F-B22C-4B59-B789-DA6B08504FE1}" type="parTrans" cxnId="{465AF3CC-3051-48B6-A79C-61348601950D}">
      <dgm:prSet/>
      <dgm:spPr/>
      <dgm:t>
        <a:bodyPr/>
        <a:lstStyle/>
        <a:p>
          <a:endParaRPr lang="en-US"/>
        </a:p>
      </dgm:t>
    </dgm:pt>
    <dgm:pt modelId="{D97F99B1-6CD6-4766-A6E8-A1C984C9E128}" type="sibTrans" cxnId="{465AF3CC-3051-48B6-A79C-61348601950D}">
      <dgm:prSet/>
      <dgm:spPr/>
      <dgm:t>
        <a:bodyPr/>
        <a:lstStyle/>
        <a:p>
          <a:endParaRPr lang="en-US"/>
        </a:p>
      </dgm:t>
    </dgm:pt>
    <dgm:pt modelId="{D4D8509C-A190-4871-A8F8-3D45FBB873A0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Willingness to </a:t>
          </a:r>
          <a:r>
            <a:rPr lang="en-GB" b="1" dirty="0"/>
            <a:t>constantly learn</a:t>
          </a:r>
          <a:r>
            <a:rPr lang="en-GB" dirty="0"/>
            <a:t> and </a:t>
          </a:r>
          <a:r>
            <a:rPr lang="en-GB" b="1" dirty="0"/>
            <a:t>experiment</a:t>
          </a:r>
          <a:endParaRPr lang="en-US" b="1" dirty="0"/>
        </a:p>
      </dgm:t>
    </dgm:pt>
    <dgm:pt modelId="{64C0E8CB-60BF-45B6-A0AD-FD188236F386}" type="parTrans" cxnId="{56DAE87A-6B1B-4200-AAE2-95040622F218}">
      <dgm:prSet/>
      <dgm:spPr/>
      <dgm:t>
        <a:bodyPr/>
        <a:lstStyle/>
        <a:p>
          <a:endParaRPr lang="en-US"/>
        </a:p>
      </dgm:t>
    </dgm:pt>
    <dgm:pt modelId="{8425E255-4453-43A3-A07A-85965A83DA2A}" type="sibTrans" cxnId="{56DAE87A-6B1B-4200-AAE2-95040622F218}">
      <dgm:prSet/>
      <dgm:spPr/>
      <dgm:t>
        <a:bodyPr/>
        <a:lstStyle/>
        <a:p>
          <a:endParaRPr lang="en-US"/>
        </a:p>
      </dgm:t>
    </dgm:pt>
    <dgm:pt modelId="{7F69A4D3-871A-4617-B90A-3F5156B41964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Constant </a:t>
          </a:r>
          <a:r>
            <a:rPr lang="en-GB" b="1" dirty="0"/>
            <a:t>curiosity</a:t>
          </a:r>
          <a:r>
            <a:rPr lang="en-GB" dirty="0"/>
            <a:t> about new topics</a:t>
          </a:r>
          <a:endParaRPr lang="en-US" dirty="0"/>
        </a:p>
      </dgm:t>
    </dgm:pt>
    <dgm:pt modelId="{3877E247-902B-468F-AF94-FB2C8558E4B0}" type="parTrans" cxnId="{11436515-EE45-4221-A9A5-1D7CA9DC0361}">
      <dgm:prSet/>
      <dgm:spPr/>
      <dgm:t>
        <a:bodyPr/>
        <a:lstStyle/>
        <a:p>
          <a:endParaRPr lang="en-US"/>
        </a:p>
      </dgm:t>
    </dgm:pt>
    <dgm:pt modelId="{050D3163-64E6-4303-98B1-CACA2FAB0256}" type="sibTrans" cxnId="{11436515-EE45-4221-A9A5-1D7CA9DC0361}">
      <dgm:prSet/>
      <dgm:spPr/>
      <dgm:t>
        <a:bodyPr/>
        <a:lstStyle/>
        <a:p>
          <a:endParaRPr lang="en-US"/>
        </a:p>
      </dgm:t>
    </dgm:pt>
    <dgm:pt modelId="{D6A491CE-6C07-4DE6-85BD-02D5D1347865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Capability to work in </a:t>
          </a:r>
          <a:r>
            <a:rPr lang="en-GB" b="1" dirty="0"/>
            <a:t>self organized</a:t>
          </a:r>
          <a:r>
            <a:rPr lang="en-GB" dirty="0"/>
            <a:t> teams</a:t>
          </a:r>
        </a:p>
        <a:p>
          <a:pPr>
            <a:lnSpc>
              <a:spcPct val="100000"/>
            </a:lnSpc>
          </a:pPr>
          <a:endParaRPr lang="en-US" dirty="0"/>
        </a:p>
      </dgm:t>
    </dgm:pt>
    <dgm:pt modelId="{AFA451C2-634B-4C86-813E-65D6231A7B94}" type="parTrans" cxnId="{2A7836B0-A716-4D52-827A-C3656D8990FA}">
      <dgm:prSet/>
      <dgm:spPr/>
      <dgm:t>
        <a:bodyPr/>
        <a:lstStyle/>
        <a:p>
          <a:endParaRPr lang="en-US"/>
        </a:p>
      </dgm:t>
    </dgm:pt>
    <dgm:pt modelId="{7EA373C8-2DFC-4D3E-88D1-8357057BC7C9}" type="sibTrans" cxnId="{2A7836B0-A716-4D52-827A-C3656D8990FA}">
      <dgm:prSet/>
      <dgm:spPr/>
      <dgm:t>
        <a:bodyPr/>
        <a:lstStyle/>
        <a:p>
          <a:endParaRPr lang="en-US"/>
        </a:p>
      </dgm:t>
    </dgm:pt>
    <dgm:pt modelId="{575F85D7-0485-4BDD-ACB6-899806A7DCAD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1" dirty="0"/>
            <a:t>Why: things change very quickly</a:t>
          </a:r>
          <a:endParaRPr lang="en-US" b="1" dirty="0"/>
        </a:p>
      </dgm:t>
    </dgm:pt>
    <dgm:pt modelId="{A67702B9-A61A-4F91-A16B-0AFDFCECED94}" type="parTrans" cxnId="{F7AC6107-C77F-44B4-B412-928E48317E79}">
      <dgm:prSet/>
      <dgm:spPr/>
      <dgm:t>
        <a:bodyPr/>
        <a:lstStyle/>
        <a:p>
          <a:endParaRPr lang="en-US"/>
        </a:p>
      </dgm:t>
    </dgm:pt>
    <dgm:pt modelId="{1130C4D8-9673-42A8-951F-6AD3C58742C3}" type="sibTrans" cxnId="{F7AC6107-C77F-44B4-B412-928E48317E79}">
      <dgm:prSet/>
      <dgm:spPr/>
      <dgm:t>
        <a:bodyPr/>
        <a:lstStyle/>
        <a:p>
          <a:endParaRPr lang="en-US"/>
        </a:p>
      </dgm:t>
    </dgm:pt>
    <dgm:pt modelId="{5E8056A3-7CBF-4C3C-ABFD-A3E5D9AB81B7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/>
            <a:t>More than one path</a:t>
          </a:r>
          <a:endParaRPr lang="en-US" dirty="0"/>
        </a:p>
      </dgm:t>
    </dgm:pt>
    <dgm:pt modelId="{980765B9-56F6-45ED-A0A5-E39C9B3C7FCE}" type="parTrans" cxnId="{4891CF15-8D88-4324-9BE7-8D6B67CDFE4C}">
      <dgm:prSet/>
      <dgm:spPr/>
      <dgm:t>
        <a:bodyPr/>
        <a:lstStyle/>
        <a:p>
          <a:endParaRPr lang="en-US"/>
        </a:p>
      </dgm:t>
    </dgm:pt>
    <dgm:pt modelId="{C6CEE512-AC0E-4907-B93E-68C2AA594FBA}" type="sibTrans" cxnId="{4891CF15-8D88-4324-9BE7-8D6B67CDFE4C}">
      <dgm:prSet/>
      <dgm:spPr/>
      <dgm:t>
        <a:bodyPr/>
        <a:lstStyle/>
        <a:p>
          <a:endParaRPr lang="en-US"/>
        </a:p>
      </dgm:t>
    </dgm:pt>
    <dgm:pt modelId="{C43906F8-A3C8-6B4E-ABC8-BD021E19074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Apprenticeships</a:t>
          </a:r>
        </a:p>
        <a:p>
          <a:pPr>
            <a:lnSpc>
              <a:spcPct val="100000"/>
            </a:lnSpc>
          </a:pPr>
          <a:r>
            <a:rPr lang="en-US" dirty="0"/>
            <a:t>Summer trainees</a:t>
          </a:r>
        </a:p>
        <a:p>
          <a:pPr>
            <a:lnSpc>
              <a:spcPct val="100000"/>
            </a:lnSpc>
          </a:pPr>
          <a:r>
            <a:rPr lang="en-US" dirty="0"/>
            <a:t>Hobby projects</a:t>
          </a:r>
        </a:p>
      </dgm:t>
    </dgm:pt>
    <dgm:pt modelId="{C905C281-541C-034C-8D4E-64A7FB11AF4C}" type="parTrans" cxnId="{E0A717A5-E90A-644B-97E7-8D447F9C4115}">
      <dgm:prSet/>
      <dgm:spPr/>
      <dgm:t>
        <a:bodyPr/>
        <a:lstStyle/>
        <a:p>
          <a:endParaRPr lang="en-GB"/>
        </a:p>
      </dgm:t>
    </dgm:pt>
    <dgm:pt modelId="{5A259C8A-F68A-A04D-BA57-7ABA5D63D57C}" type="sibTrans" cxnId="{E0A717A5-E90A-644B-97E7-8D447F9C4115}">
      <dgm:prSet/>
      <dgm:spPr/>
      <dgm:t>
        <a:bodyPr/>
        <a:lstStyle/>
        <a:p>
          <a:endParaRPr lang="en-GB"/>
        </a:p>
      </dgm:t>
    </dgm:pt>
    <dgm:pt modelId="{F7D3C5D6-4EC6-7A49-AE52-1D49E66C9BE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Open source </a:t>
          </a:r>
        </a:p>
        <a:p>
          <a:pPr>
            <a:lnSpc>
              <a:spcPct val="100000"/>
            </a:lnSpc>
          </a:pPr>
          <a:r>
            <a:rPr lang="en-US" dirty="0" err="1"/>
            <a:t>MooC</a:t>
          </a:r>
          <a:r>
            <a:rPr lang="en-US" dirty="0"/>
            <a:t> </a:t>
          </a:r>
        </a:p>
        <a:p>
          <a:pPr>
            <a:lnSpc>
              <a:spcPct val="100000"/>
            </a:lnSpc>
          </a:pPr>
          <a:r>
            <a:rPr lang="en-US" dirty="0"/>
            <a:t>Universities</a:t>
          </a:r>
        </a:p>
        <a:p>
          <a:pPr>
            <a:lnSpc>
              <a:spcPct val="100000"/>
            </a:lnSpc>
          </a:pPr>
          <a:r>
            <a:rPr lang="en-US" dirty="0"/>
            <a:t>Reading widely</a:t>
          </a:r>
        </a:p>
        <a:p>
          <a:pPr>
            <a:lnSpc>
              <a:spcPct val="100000"/>
            </a:lnSpc>
          </a:pPr>
          <a:r>
            <a:rPr lang="en-US" dirty="0"/>
            <a:t>Networking</a:t>
          </a:r>
        </a:p>
      </dgm:t>
    </dgm:pt>
    <dgm:pt modelId="{5AC73FDA-D03F-F14B-BBB9-F93A9ADA6AF6}" type="parTrans" cxnId="{0691288A-DAA8-3F43-B939-D041FE9D5585}">
      <dgm:prSet/>
      <dgm:spPr/>
      <dgm:t>
        <a:bodyPr/>
        <a:lstStyle/>
        <a:p>
          <a:endParaRPr lang="en-GB"/>
        </a:p>
      </dgm:t>
    </dgm:pt>
    <dgm:pt modelId="{0FBF0C70-E42F-2044-BBF8-BF3EE0614134}" type="sibTrans" cxnId="{0691288A-DAA8-3F43-B939-D041FE9D5585}">
      <dgm:prSet/>
      <dgm:spPr/>
      <dgm:t>
        <a:bodyPr/>
        <a:lstStyle/>
        <a:p>
          <a:endParaRPr lang="en-GB"/>
        </a:p>
      </dgm:t>
    </dgm:pt>
    <dgm:pt modelId="{EDCA3E44-440A-2A40-B791-6DDD72E112D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Mentoring</a:t>
          </a:r>
        </a:p>
      </dgm:t>
    </dgm:pt>
    <dgm:pt modelId="{11B4FC38-9D52-634F-B955-9DB44D3D146A}" type="parTrans" cxnId="{018FEE37-63CE-194C-AB4E-626699590D10}">
      <dgm:prSet/>
      <dgm:spPr/>
      <dgm:t>
        <a:bodyPr/>
        <a:lstStyle/>
        <a:p>
          <a:endParaRPr lang="en-GB"/>
        </a:p>
      </dgm:t>
    </dgm:pt>
    <dgm:pt modelId="{7C86DDB8-1344-F54C-9B6B-D0471F6BAB3F}" type="sibTrans" cxnId="{018FEE37-63CE-194C-AB4E-626699590D10}">
      <dgm:prSet/>
      <dgm:spPr/>
      <dgm:t>
        <a:bodyPr/>
        <a:lstStyle/>
        <a:p>
          <a:endParaRPr lang="en-GB"/>
        </a:p>
      </dgm:t>
    </dgm:pt>
    <dgm:pt modelId="{55EF0F96-2B07-426B-97AA-C41C3E69F44F}" type="pres">
      <dgm:prSet presAssocID="{D9743656-C45A-4F89-AB0E-77A61B3E2368}" presName="root" presStyleCnt="0">
        <dgm:presLayoutVars>
          <dgm:dir/>
          <dgm:resizeHandles val="exact"/>
        </dgm:presLayoutVars>
      </dgm:prSet>
      <dgm:spPr/>
    </dgm:pt>
    <dgm:pt modelId="{FBE56E89-2BB8-4E79-A727-A114B0909CD9}" type="pres">
      <dgm:prSet presAssocID="{34F30D02-B30F-477F-8382-6BD4894DB549}" presName="compNode" presStyleCnt="0"/>
      <dgm:spPr/>
    </dgm:pt>
    <dgm:pt modelId="{61CB313E-4039-4312-AD1A-48FA9AFBBCF5}" type="pres">
      <dgm:prSet presAssocID="{34F30D02-B30F-477F-8382-6BD4894DB549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mputer"/>
        </a:ext>
      </dgm:extLst>
    </dgm:pt>
    <dgm:pt modelId="{06A59E56-DCE5-4CC2-8FCC-09F218FA2059}" type="pres">
      <dgm:prSet presAssocID="{34F30D02-B30F-477F-8382-6BD4894DB549}" presName="iconSpace" presStyleCnt="0"/>
      <dgm:spPr/>
    </dgm:pt>
    <dgm:pt modelId="{6DACC17B-6465-4130-97E5-650512BAA249}" type="pres">
      <dgm:prSet presAssocID="{34F30D02-B30F-477F-8382-6BD4894DB549}" presName="parTx" presStyleLbl="revTx" presStyleIdx="0" presStyleCnt="6">
        <dgm:presLayoutVars>
          <dgm:chMax val="0"/>
          <dgm:chPref val="0"/>
        </dgm:presLayoutVars>
      </dgm:prSet>
      <dgm:spPr/>
    </dgm:pt>
    <dgm:pt modelId="{57BDF7C4-4543-4278-BEAF-36D31E2B77AE}" type="pres">
      <dgm:prSet presAssocID="{34F30D02-B30F-477F-8382-6BD4894DB549}" presName="txSpace" presStyleCnt="0"/>
      <dgm:spPr/>
    </dgm:pt>
    <dgm:pt modelId="{CE85A4A1-A0C6-4567-ACA4-9C84A84315BF}" type="pres">
      <dgm:prSet presAssocID="{34F30D02-B30F-477F-8382-6BD4894DB549}" presName="desTx" presStyleLbl="revTx" presStyleIdx="1" presStyleCnt="6">
        <dgm:presLayoutVars/>
      </dgm:prSet>
      <dgm:spPr/>
    </dgm:pt>
    <dgm:pt modelId="{4998C9CE-A35A-457D-B3E4-9EDAB94F7524}" type="pres">
      <dgm:prSet presAssocID="{AE4ECE81-7DC8-4657-818B-91338CDB7089}" presName="sibTrans" presStyleCnt="0"/>
      <dgm:spPr/>
    </dgm:pt>
    <dgm:pt modelId="{CD8E9E63-B7A1-4070-81EB-5FD7BCCC78D6}" type="pres">
      <dgm:prSet presAssocID="{EC3B553A-BFFA-44E8-BECF-6E63829B1EC1}" presName="compNode" presStyleCnt="0"/>
      <dgm:spPr/>
    </dgm:pt>
    <dgm:pt modelId="{A28939F6-1D93-4EF1-8FBC-B17425DE0A15}" type="pres">
      <dgm:prSet presAssocID="{EC3B553A-BFFA-44E8-BECF-6E63829B1EC1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E254102F-9123-4917-85D4-6F6E35062150}" type="pres">
      <dgm:prSet presAssocID="{EC3B553A-BFFA-44E8-BECF-6E63829B1EC1}" presName="iconSpace" presStyleCnt="0"/>
      <dgm:spPr/>
    </dgm:pt>
    <dgm:pt modelId="{E016B7B2-47B0-4755-ADF3-29F4D994E022}" type="pres">
      <dgm:prSet presAssocID="{EC3B553A-BFFA-44E8-BECF-6E63829B1EC1}" presName="parTx" presStyleLbl="revTx" presStyleIdx="2" presStyleCnt="6">
        <dgm:presLayoutVars>
          <dgm:chMax val="0"/>
          <dgm:chPref val="0"/>
        </dgm:presLayoutVars>
      </dgm:prSet>
      <dgm:spPr/>
    </dgm:pt>
    <dgm:pt modelId="{476F76DC-AC27-41E0-8E2D-FE73A137526A}" type="pres">
      <dgm:prSet presAssocID="{EC3B553A-BFFA-44E8-BECF-6E63829B1EC1}" presName="txSpace" presStyleCnt="0"/>
      <dgm:spPr/>
    </dgm:pt>
    <dgm:pt modelId="{0321CB61-8009-44C7-A22F-4B2CD8FD7DC5}" type="pres">
      <dgm:prSet presAssocID="{EC3B553A-BFFA-44E8-BECF-6E63829B1EC1}" presName="desTx" presStyleLbl="revTx" presStyleIdx="3" presStyleCnt="6">
        <dgm:presLayoutVars/>
      </dgm:prSet>
      <dgm:spPr/>
    </dgm:pt>
    <dgm:pt modelId="{7CA98547-B1C7-43DE-9436-54D25450C4B5}" type="pres">
      <dgm:prSet presAssocID="{4E5CE477-E939-4BF3-8EAE-6C84364E90C1}" presName="sibTrans" presStyleCnt="0"/>
      <dgm:spPr/>
    </dgm:pt>
    <dgm:pt modelId="{83B59C43-DC11-4332-BDF4-A09DC170E67A}" type="pres">
      <dgm:prSet presAssocID="{5E8056A3-7CBF-4C3C-ABFD-A3E5D9AB81B7}" presName="compNode" presStyleCnt="0"/>
      <dgm:spPr/>
    </dgm:pt>
    <dgm:pt modelId="{6CFB4FB8-9B3E-4DE3-B648-15771FE0B709}" type="pres">
      <dgm:prSet presAssocID="{5E8056A3-7CBF-4C3C-ABFD-A3E5D9AB81B7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nnections"/>
        </a:ext>
      </dgm:extLst>
    </dgm:pt>
    <dgm:pt modelId="{8DC254E3-73D5-4C3C-B2A2-8F1973B587A8}" type="pres">
      <dgm:prSet presAssocID="{5E8056A3-7CBF-4C3C-ABFD-A3E5D9AB81B7}" presName="iconSpace" presStyleCnt="0"/>
      <dgm:spPr/>
    </dgm:pt>
    <dgm:pt modelId="{6803C9D2-08FD-446F-ACA6-FA04A0D03497}" type="pres">
      <dgm:prSet presAssocID="{5E8056A3-7CBF-4C3C-ABFD-A3E5D9AB81B7}" presName="parTx" presStyleLbl="revTx" presStyleIdx="4" presStyleCnt="6">
        <dgm:presLayoutVars>
          <dgm:chMax val="0"/>
          <dgm:chPref val="0"/>
        </dgm:presLayoutVars>
      </dgm:prSet>
      <dgm:spPr/>
    </dgm:pt>
    <dgm:pt modelId="{C77E5A6C-269D-4362-B38E-1861F3C31B62}" type="pres">
      <dgm:prSet presAssocID="{5E8056A3-7CBF-4C3C-ABFD-A3E5D9AB81B7}" presName="txSpace" presStyleCnt="0"/>
      <dgm:spPr/>
    </dgm:pt>
    <dgm:pt modelId="{223D8401-E482-4978-8A4B-364E9F679744}" type="pres">
      <dgm:prSet presAssocID="{5E8056A3-7CBF-4C3C-ABFD-A3E5D9AB81B7}" presName="desTx" presStyleLbl="revTx" presStyleIdx="5" presStyleCnt="6">
        <dgm:presLayoutVars/>
      </dgm:prSet>
      <dgm:spPr/>
    </dgm:pt>
  </dgm:ptLst>
  <dgm:cxnLst>
    <dgm:cxn modelId="{F7AC6107-C77F-44B4-B412-928E48317E79}" srcId="{EC3B553A-BFFA-44E8-BECF-6E63829B1EC1}" destId="{575F85D7-0485-4BDD-ACB6-899806A7DCAD}" srcOrd="4" destOrd="0" parTransId="{A67702B9-A61A-4F91-A16B-0AFDFCECED94}" sibTransId="{1130C4D8-9673-42A8-951F-6AD3C58742C3}"/>
    <dgm:cxn modelId="{11436515-EE45-4221-A9A5-1D7CA9DC0361}" srcId="{EC3B553A-BFFA-44E8-BECF-6E63829B1EC1}" destId="{7F69A4D3-871A-4617-B90A-3F5156B41964}" srcOrd="2" destOrd="0" parTransId="{3877E247-902B-468F-AF94-FB2C8558E4B0}" sibTransId="{050D3163-64E6-4303-98B1-CACA2FAB0256}"/>
    <dgm:cxn modelId="{4891CF15-8D88-4324-9BE7-8D6B67CDFE4C}" srcId="{D9743656-C45A-4F89-AB0E-77A61B3E2368}" destId="{5E8056A3-7CBF-4C3C-ABFD-A3E5D9AB81B7}" srcOrd="2" destOrd="0" parTransId="{980765B9-56F6-45ED-A0A5-E39C9B3C7FCE}" sibTransId="{C6CEE512-AC0E-4907-B93E-68C2AA594FBA}"/>
    <dgm:cxn modelId="{A3533917-3437-364C-994F-B6591934D6BB}" type="presOf" srcId="{575F85D7-0485-4BDD-ACB6-899806A7DCAD}" destId="{0321CB61-8009-44C7-A22F-4B2CD8FD7DC5}" srcOrd="0" destOrd="4" presId="urn:microsoft.com/office/officeart/2018/5/layout/CenteredIconLabelDescriptionList"/>
    <dgm:cxn modelId="{CC53271F-1BC7-0440-82E7-1A84DA13CC6F}" type="presOf" srcId="{F7D3C5D6-4EC6-7A49-AE52-1D49E66C9BE3}" destId="{223D8401-E482-4978-8A4B-364E9F679744}" srcOrd="0" destOrd="1" presId="urn:microsoft.com/office/officeart/2018/5/layout/CenteredIconLabelDescriptionList"/>
    <dgm:cxn modelId="{D8BCF21F-F7FC-8E43-9EB2-2173A0292713}" type="presOf" srcId="{7F69A4D3-871A-4617-B90A-3F5156B41964}" destId="{0321CB61-8009-44C7-A22F-4B2CD8FD7DC5}" srcOrd="0" destOrd="2" presId="urn:microsoft.com/office/officeart/2018/5/layout/CenteredIconLabelDescriptionList"/>
    <dgm:cxn modelId="{2752132F-4A87-EE47-ABCF-000286238D7C}" type="presOf" srcId="{34F30D02-B30F-477F-8382-6BD4894DB549}" destId="{6DACC17B-6465-4130-97E5-650512BAA249}" srcOrd="0" destOrd="0" presId="urn:microsoft.com/office/officeart/2018/5/layout/CenteredIconLabelDescriptionList"/>
    <dgm:cxn modelId="{2CA22B37-832F-A943-B0FE-59380DC9D336}" type="presOf" srcId="{F70DE8D4-8942-4DBF-8E97-0234C2FD80FC}" destId="{CE85A4A1-A0C6-4567-ACA4-9C84A84315BF}" srcOrd="0" destOrd="0" presId="urn:microsoft.com/office/officeart/2018/5/layout/CenteredIconLabelDescriptionList"/>
    <dgm:cxn modelId="{018FEE37-63CE-194C-AB4E-626699590D10}" srcId="{5E8056A3-7CBF-4C3C-ABFD-A3E5D9AB81B7}" destId="{EDCA3E44-440A-2A40-B791-6DDD72E112D1}" srcOrd="2" destOrd="0" parTransId="{11B4FC38-9D52-634F-B955-9DB44D3D146A}" sibTransId="{7C86DDB8-1344-F54C-9B6B-D0471F6BAB3F}"/>
    <dgm:cxn modelId="{DC992B42-99F6-46F3-ABCC-B2C5471DD587}" srcId="{34F30D02-B30F-477F-8382-6BD4894DB549}" destId="{346C0F89-DF9A-47E9-9CE5-CEB0B2E2937C}" srcOrd="1" destOrd="0" parTransId="{F6AB423C-0101-4C13-9FB4-5E2FAEDB297E}" sibTransId="{2E47E1B7-379F-4B50-B6B3-3105CAB64EE2}"/>
    <dgm:cxn modelId="{A4FCF64D-DD4B-CC4D-9248-6DA13B2120C3}" type="presOf" srcId="{D9743656-C45A-4F89-AB0E-77A61B3E2368}" destId="{55EF0F96-2B07-426B-97AA-C41C3E69F44F}" srcOrd="0" destOrd="0" presId="urn:microsoft.com/office/officeart/2018/5/layout/CenteredIconLabelDescriptionList"/>
    <dgm:cxn modelId="{5F066854-6FE7-6448-8F0D-524688DF4D92}" type="presOf" srcId="{CC5ACFDC-AE31-4765-90B7-968A682AC577}" destId="{CE85A4A1-A0C6-4567-ACA4-9C84A84315BF}" srcOrd="0" destOrd="2" presId="urn:microsoft.com/office/officeart/2018/5/layout/CenteredIconLabelDescriptionList"/>
    <dgm:cxn modelId="{56DAE87A-6B1B-4200-AAE2-95040622F218}" srcId="{EC3B553A-BFFA-44E8-BECF-6E63829B1EC1}" destId="{D4D8509C-A190-4871-A8F8-3D45FBB873A0}" srcOrd="1" destOrd="0" parTransId="{64C0E8CB-60BF-45B6-A0AD-FD188236F386}" sibTransId="{8425E255-4453-43A3-A07A-85965A83DA2A}"/>
    <dgm:cxn modelId="{5FD22F7F-D612-3241-8EF3-6E02E466293F}" type="presOf" srcId="{D6A491CE-6C07-4DE6-85BD-02D5D1347865}" destId="{0321CB61-8009-44C7-A22F-4B2CD8FD7DC5}" srcOrd="0" destOrd="3" presId="urn:microsoft.com/office/officeart/2018/5/layout/CenteredIconLabelDescriptionList"/>
    <dgm:cxn modelId="{269E797F-3D84-8B45-91AE-F26CD85B2846}" type="presOf" srcId="{5E8056A3-7CBF-4C3C-ABFD-A3E5D9AB81B7}" destId="{6803C9D2-08FD-446F-ACA6-FA04A0D03497}" srcOrd="0" destOrd="0" presId="urn:microsoft.com/office/officeart/2018/5/layout/CenteredIconLabelDescriptionList"/>
    <dgm:cxn modelId="{0691288A-DAA8-3F43-B939-D041FE9D5585}" srcId="{5E8056A3-7CBF-4C3C-ABFD-A3E5D9AB81B7}" destId="{F7D3C5D6-4EC6-7A49-AE52-1D49E66C9BE3}" srcOrd="1" destOrd="0" parTransId="{5AC73FDA-D03F-F14B-BBB9-F93A9ADA6AF6}" sibTransId="{0FBF0C70-E42F-2044-BBF8-BF3EE0614134}"/>
    <dgm:cxn modelId="{E0A717A5-E90A-644B-97E7-8D447F9C4115}" srcId="{5E8056A3-7CBF-4C3C-ABFD-A3E5D9AB81B7}" destId="{C43906F8-A3C8-6B4E-ABC8-BD021E19074B}" srcOrd="0" destOrd="0" parTransId="{C905C281-541C-034C-8D4E-64A7FB11AF4C}" sibTransId="{5A259C8A-F68A-A04D-BA57-7ABA5D63D57C}"/>
    <dgm:cxn modelId="{E94E91AC-4F4F-49FE-AC20-689BD9D556FE}" srcId="{34F30D02-B30F-477F-8382-6BD4894DB549}" destId="{F70DE8D4-8942-4DBF-8E97-0234C2FD80FC}" srcOrd="0" destOrd="0" parTransId="{C7714BC0-032F-4825-8CEB-DF490B22DD90}" sibTransId="{0807D0C1-B2BA-4955-AF13-360D2CD54EF4}"/>
    <dgm:cxn modelId="{2A7836B0-A716-4D52-827A-C3656D8990FA}" srcId="{EC3B553A-BFFA-44E8-BECF-6E63829B1EC1}" destId="{D6A491CE-6C07-4DE6-85BD-02D5D1347865}" srcOrd="3" destOrd="0" parTransId="{AFA451C2-634B-4C86-813E-65D6231A7B94}" sibTransId="{7EA373C8-2DFC-4D3E-88D1-8357057BC7C9}"/>
    <dgm:cxn modelId="{CC45BAB4-7D2B-A84C-93F2-05D33997556E}" type="presOf" srcId="{33CB6C21-2EAB-4F07-8196-30B67B9A9BFF}" destId="{0321CB61-8009-44C7-A22F-4B2CD8FD7DC5}" srcOrd="0" destOrd="0" presId="urn:microsoft.com/office/officeart/2018/5/layout/CenteredIconLabelDescriptionList"/>
    <dgm:cxn modelId="{C7F19CBD-ADE3-0A47-AF1F-893D3E801EBD}" type="presOf" srcId="{346C0F89-DF9A-47E9-9CE5-CEB0B2E2937C}" destId="{CE85A4A1-A0C6-4567-ACA4-9C84A84315BF}" srcOrd="0" destOrd="1" presId="urn:microsoft.com/office/officeart/2018/5/layout/CenteredIconLabelDescriptionList"/>
    <dgm:cxn modelId="{20395DC3-7C60-4E90-89BD-DA74BCEEAAE6}" srcId="{D9743656-C45A-4F89-AB0E-77A61B3E2368}" destId="{34F30D02-B30F-477F-8382-6BD4894DB549}" srcOrd="0" destOrd="0" parTransId="{B82FD2E4-4A22-401A-92BE-345D9E6CED08}" sibTransId="{AE4ECE81-7DC8-4657-818B-91338CDB7089}"/>
    <dgm:cxn modelId="{465AF3CC-3051-48B6-A79C-61348601950D}" srcId="{EC3B553A-BFFA-44E8-BECF-6E63829B1EC1}" destId="{33CB6C21-2EAB-4F07-8196-30B67B9A9BFF}" srcOrd="0" destOrd="0" parTransId="{48A5200F-B22C-4B59-B789-DA6B08504FE1}" sibTransId="{D97F99B1-6CD6-4766-A6E8-A1C984C9E128}"/>
    <dgm:cxn modelId="{0A5F59CF-F3AB-4E62-B282-AE61134406A7}" srcId="{34F30D02-B30F-477F-8382-6BD4894DB549}" destId="{3BB45D02-EE4D-47C3-9969-CBC3D6782A10}" srcOrd="3" destOrd="0" parTransId="{0CBA02D7-1C9C-45B7-8CE3-6562BE9DB6C0}" sibTransId="{98A40FEA-BD8A-418B-BB8A-85677080A8B4}"/>
    <dgm:cxn modelId="{3DB6E7D4-8A28-2A4A-8EB1-7041B4458521}" type="presOf" srcId="{EC3B553A-BFFA-44E8-BECF-6E63829B1EC1}" destId="{E016B7B2-47B0-4755-ADF3-29F4D994E022}" srcOrd="0" destOrd="0" presId="urn:microsoft.com/office/officeart/2018/5/layout/CenteredIconLabelDescriptionList"/>
    <dgm:cxn modelId="{845322D6-F28C-48B7-9674-622295F8E2F1}" srcId="{D9743656-C45A-4F89-AB0E-77A61B3E2368}" destId="{EC3B553A-BFFA-44E8-BECF-6E63829B1EC1}" srcOrd="1" destOrd="0" parTransId="{A7CC7D4F-D4B3-4110-9CE0-4FFBFDE1A0F2}" sibTransId="{4E5CE477-E939-4BF3-8EAE-6C84364E90C1}"/>
    <dgm:cxn modelId="{8D54E5E1-FD0D-0F47-98BF-7D1735D906BF}" type="presOf" srcId="{C43906F8-A3C8-6B4E-ABC8-BD021E19074B}" destId="{223D8401-E482-4978-8A4B-364E9F679744}" srcOrd="0" destOrd="0" presId="urn:microsoft.com/office/officeart/2018/5/layout/CenteredIconLabelDescriptionList"/>
    <dgm:cxn modelId="{E1AC29F2-7E37-BC41-B04B-75F2EE5F94A5}" type="presOf" srcId="{D4D8509C-A190-4871-A8F8-3D45FBB873A0}" destId="{0321CB61-8009-44C7-A22F-4B2CD8FD7DC5}" srcOrd="0" destOrd="1" presId="urn:microsoft.com/office/officeart/2018/5/layout/CenteredIconLabelDescriptionList"/>
    <dgm:cxn modelId="{60D5D9F5-FFE9-9142-A70C-BE2AECFC8704}" type="presOf" srcId="{EDCA3E44-440A-2A40-B791-6DDD72E112D1}" destId="{223D8401-E482-4978-8A4B-364E9F679744}" srcOrd="0" destOrd="2" presId="urn:microsoft.com/office/officeart/2018/5/layout/CenteredIconLabelDescriptionList"/>
    <dgm:cxn modelId="{7DDEFAF7-F393-1747-8110-74F830387A70}" type="presOf" srcId="{3BB45D02-EE4D-47C3-9969-CBC3D6782A10}" destId="{CE85A4A1-A0C6-4567-ACA4-9C84A84315BF}" srcOrd="0" destOrd="3" presId="urn:microsoft.com/office/officeart/2018/5/layout/CenteredIconLabelDescriptionList"/>
    <dgm:cxn modelId="{2D878AFB-4EA1-4764-8838-14B347CB43D7}" srcId="{34F30D02-B30F-477F-8382-6BD4894DB549}" destId="{CC5ACFDC-AE31-4765-90B7-968A682AC577}" srcOrd="2" destOrd="0" parTransId="{E00E8054-43B7-48B8-B07B-1F795D6A5CB7}" sibTransId="{F06B6961-CEF4-471F-A457-B4C609947403}"/>
    <dgm:cxn modelId="{6FC6D167-BE54-1A4A-AA6E-0086BADDF995}" type="presParOf" srcId="{55EF0F96-2B07-426B-97AA-C41C3E69F44F}" destId="{FBE56E89-2BB8-4E79-A727-A114B0909CD9}" srcOrd="0" destOrd="0" presId="urn:microsoft.com/office/officeart/2018/5/layout/CenteredIconLabelDescriptionList"/>
    <dgm:cxn modelId="{32F7CCFD-7348-1942-AC0B-D12AAE8BB429}" type="presParOf" srcId="{FBE56E89-2BB8-4E79-A727-A114B0909CD9}" destId="{61CB313E-4039-4312-AD1A-48FA9AFBBCF5}" srcOrd="0" destOrd="0" presId="urn:microsoft.com/office/officeart/2018/5/layout/CenteredIconLabelDescriptionList"/>
    <dgm:cxn modelId="{C5FE2124-4BAF-B84F-86C4-CD0D8C2492D1}" type="presParOf" srcId="{FBE56E89-2BB8-4E79-A727-A114B0909CD9}" destId="{06A59E56-DCE5-4CC2-8FCC-09F218FA2059}" srcOrd="1" destOrd="0" presId="urn:microsoft.com/office/officeart/2018/5/layout/CenteredIconLabelDescriptionList"/>
    <dgm:cxn modelId="{78F58697-DBE9-F041-86AE-B38C8218EF45}" type="presParOf" srcId="{FBE56E89-2BB8-4E79-A727-A114B0909CD9}" destId="{6DACC17B-6465-4130-97E5-650512BAA249}" srcOrd="2" destOrd="0" presId="urn:microsoft.com/office/officeart/2018/5/layout/CenteredIconLabelDescriptionList"/>
    <dgm:cxn modelId="{B8687E8D-4876-B04D-8640-F912CBB66724}" type="presParOf" srcId="{FBE56E89-2BB8-4E79-A727-A114B0909CD9}" destId="{57BDF7C4-4543-4278-BEAF-36D31E2B77AE}" srcOrd="3" destOrd="0" presId="urn:microsoft.com/office/officeart/2018/5/layout/CenteredIconLabelDescriptionList"/>
    <dgm:cxn modelId="{09D6495B-C5B9-3445-89E1-1D389D8F63CA}" type="presParOf" srcId="{FBE56E89-2BB8-4E79-A727-A114B0909CD9}" destId="{CE85A4A1-A0C6-4567-ACA4-9C84A84315BF}" srcOrd="4" destOrd="0" presId="urn:microsoft.com/office/officeart/2018/5/layout/CenteredIconLabelDescriptionList"/>
    <dgm:cxn modelId="{0B6484B7-C459-B747-AE57-6303B7647234}" type="presParOf" srcId="{55EF0F96-2B07-426B-97AA-C41C3E69F44F}" destId="{4998C9CE-A35A-457D-B3E4-9EDAB94F7524}" srcOrd="1" destOrd="0" presId="urn:microsoft.com/office/officeart/2018/5/layout/CenteredIconLabelDescriptionList"/>
    <dgm:cxn modelId="{FEF9B346-21C6-7B44-82E9-E7A4D155037D}" type="presParOf" srcId="{55EF0F96-2B07-426B-97AA-C41C3E69F44F}" destId="{CD8E9E63-B7A1-4070-81EB-5FD7BCCC78D6}" srcOrd="2" destOrd="0" presId="urn:microsoft.com/office/officeart/2018/5/layout/CenteredIconLabelDescriptionList"/>
    <dgm:cxn modelId="{B775302B-D9A4-504D-916E-919F6B6119E6}" type="presParOf" srcId="{CD8E9E63-B7A1-4070-81EB-5FD7BCCC78D6}" destId="{A28939F6-1D93-4EF1-8FBC-B17425DE0A15}" srcOrd="0" destOrd="0" presId="urn:microsoft.com/office/officeart/2018/5/layout/CenteredIconLabelDescriptionList"/>
    <dgm:cxn modelId="{39CA4C63-6C0B-4E44-BCC4-2FF18097B15A}" type="presParOf" srcId="{CD8E9E63-B7A1-4070-81EB-5FD7BCCC78D6}" destId="{E254102F-9123-4917-85D4-6F6E35062150}" srcOrd="1" destOrd="0" presId="urn:microsoft.com/office/officeart/2018/5/layout/CenteredIconLabelDescriptionList"/>
    <dgm:cxn modelId="{513AB5F4-F1C1-6240-8628-38924CA5B85E}" type="presParOf" srcId="{CD8E9E63-B7A1-4070-81EB-5FD7BCCC78D6}" destId="{E016B7B2-47B0-4755-ADF3-29F4D994E022}" srcOrd="2" destOrd="0" presId="urn:microsoft.com/office/officeart/2018/5/layout/CenteredIconLabelDescriptionList"/>
    <dgm:cxn modelId="{0FD6EDBC-9927-3B4A-904D-B22268DD199C}" type="presParOf" srcId="{CD8E9E63-B7A1-4070-81EB-5FD7BCCC78D6}" destId="{476F76DC-AC27-41E0-8E2D-FE73A137526A}" srcOrd="3" destOrd="0" presId="urn:microsoft.com/office/officeart/2018/5/layout/CenteredIconLabelDescriptionList"/>
    <dgm:cxn modelId="{65402E09-E3BE-4E41-99F2-03A4590766B6}" type="presParOf" srcId="{CD8E9E63-B7A1-4070-81EB-5FD7BCCC78D6}" destId="{0321CB61-8009-44C7-A22F-4B2CD8FD7DC5}" srcOrd="4" destOrd="0" presId="urn:microsoft.com/office/officeart/2018/5/layout/CenteredIconLabelDescriptionList"/>
    <dgm:cxn modelId="{469B6FB8-B7A9-D145-BC51-1CDE62BCAB2C}" type="presParOf" srcId="{55EF0F96-2B07-426B-97AA-C41C3E69F44F}" destId="{7CA98547-B1C7-43DE-9436-54D25450C4B5}" srcOrd="3" destOrd="0" presId="urn:microsoft.com/office/officeart/2018/5/layout/CenteredIconLabelDescriptionList"/>
    <dgm:cxn modelId="{C409F5DD-AD13-6A4E-AC5F-4F069B7AABBF}" type="presParOf" srcId="{55EF0F96-2B07-426B-97AA-C41C3E69F44F}" destId="{83B59C43-DC11-4332-BDF4-A09DC170E67A}" srcOrd="4" destOrd="0" presId="urn:microsoft.com/office/officeart/2018/5/layout/CenteredIconLabelDescriptionList"/>
    <dgm:cxn modelId="{C3A14EAE-4750-C544-880A-17CA42627B39}" type="presParOf" srcId="{83B59C43-DC11-4332-BDF4-A09DC170E67A}" destId="{6CFB4FB8-9B3E-4DE3-B648-15771FE0B709}" srcOrd="0" destOrd="0" presId="urn:microsoft.com/office/officeart/2018/5/layout/CenteredIconLabelDescriptionList"/>
    <dgm:cxn modelId="{1A18D30F-D500-374C-AB2B-EED9A6841035}" type="presParOf" srcId="{83B59C43-DC11-4332-BDF4-A09DC170E67A}" destId="{8DC254E3-73D5-4C3C-B2A2-8F1973B587A8}" srcOrd="1" destOrd="0" presId="urn:microsoft.com/office/officeart/2018/5/layout/CenteredIconLabelDescriptionList"/>
    <dgm:cxn modelId="{0BEF209A-7A5B-DC4B-8EC4-04588E8A29F3}" type="presParOf" srcId="{83B59C43-DC11-4332-BDF4-A09DC170E67A}" destId="{6803C9D2-08FD-446F-ACA6-FA04A0D03497}" srcOrd="2" destOrd="0" presId="urn:microsoft.com/office/officeart/2018/5/layout/CenteredIconLabelDescriptionList"/>
    <dgm:cxn modelId="{A392812A-E1D4-0047-8DAF-1ED5119A0986}" type="presParOf" srcId="{83B59C43-DC11-4332-BDF4-A09DC170E67A}" destId="{C77E5A6C-269D-4362-B38E-1861F3C31B62}" srcOrd="3" destOrd="0" presId="urn:microsoft.com/office/officeart/2018/5/layout/CenteredIconLabelDescriptionList"/>
    <dgm:cxn modelId="{770D3EA1-EE5A-AA47-B031-2A353D8FEECF}" type="presParOf" srcId="{83B59C43-DC11-4332-BDF4-A09DC170E67A}" destId="{223D8401-E482-4978-8A4B-364E9F679744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3D103F4E-7DB9-D442-825D-75879B267E35}" type="doc">
      <dgm:prSet loTypeId="urn:microsoft.com/office/officeart/2005/8/layout/cycle1" loCatId="" qsTypeId="urn:microsoft.com/office/officeart/2005/8/quickstyle/simple4" qsCatId="simple" csTypeId="urn:microsoft.com/office/officeart/2005/8/colors/accent1_2" csCatId="accent1" phldr="1"/>
      <dgm:spPr/>
    </dgm:pt>
    <dgm:pt modelId="{01BFF501-08AC-AD4A-85B6-10B2FED9B404}">
      <dgm:prSet phldrT="[Text]"/>
      <dgm:spPr/>
      <dgm:t>
        <a:bodyPr/>
        <a:lstStyle/>
        <a:p>
          <a:r>
            <a:rPr lang="en-US" b="1" dirty="0">
              <a:solidFill>
                <a:schemeClr val="accent3"/>
              </a:solidFill>
            </a:rPr>
            <a:t>New Business Hypothesis with Measures</a:t>
          </a:r>
        </a:p>
      </dgm:t>
    </dgm:pt>
    <dgm:pt modelId="{B7DDFF83-3AA3-3C4E-A26D-D46A60866669}" type="parTrans" cxnId="{758B5222-47DA-E449-8CE8-E2AB139BBFDF}">
      <dgm:prSet/>
      <dgm:spPr/>
      <dgm:t>
        <a:bodyPr/>
        <a:lstStyle/>
        <a:p>
          <a:endParaRPr lang="en-US"/>
        </a:p>
      </dgm:t>
    </dgm:pt>
    <dgm:pt modelId="{0822637C-C180-484E-A6DC-A29686107A99}" type="sibTrans" cxnId="{758B5222-47DA-E449-8CE8-E2AB139BBFDF}">
      <dgm:prSet/>
      <dgm:spPr/>
      <dgm:t>
        <a:bodyPr/>
        <a:lstStyle/>
        <a:p>
          <a:endParaRPr lang="en-US"/>
        </a:p>
      </dgm:t>
    </dgm:pt>
    <dgm:pt modelId="{4CFD0EAF-F706-A34C-A090-1AEBA80F6CD5}">
      <dgm:prSet phldrT="[Text]"/>
      <dgm:spPr/>
      <dgm:t>
        <a:bodyPr/>
        <a:lstStyle/>
        <a:p>
          <a:r>
            <a:rPr lang="en-US" b="1" dirty="0">
              <a:solidFill>
                <a:srgbClr val="00B050"/>
              </a:solidFill>
            </a:rPr>
            <a:t>Prove Hypothesis in Production by Measures </a:t>
          </a:r>
        </a:p>
      </dgm:t>
    </dgm:pt>
    <dgm:pt modelId="{D72BA0CE-63AB-464F-975C-24816A6DE4D7}" type="parTrans" cxnId="{9FA0097D-7A4C-4F46-ABD2-88243117A42E}">
      <dgm:prSet/>
      <dgm:spPr/>
      <dgm:t>
        <a:bodyPr/>
        <a:lstStyle/>
        <a:p>
          <a:endParaRPr lang="en-US"/>
        </a:p>
      </dgm:t>
    </dgm:pt>
    <dgm:pt modelId="{45ED5D1D-276D-E44A-BA7B-3EDE3C89C0C0}" type="sibTrans" cxnId="{9FA0097D-7A4C-4F46-ABD2-88243117A42E}">
      <dgm:prSet/>
      <dgm:spPr/>
      <dgm:t>
        <a:bodyPr/>
        <a:lstStyle/>
        <a:p>
          <a:endParaRPr lang="en-US"/>
        </a:p>
      </dgm:t>
    </dgm:pt>
    <dgm:pt modelId="{4D75C166-97B8-184F-A64D-CB1842FA1E91}">
      <dgm:prSet phldrT="[Text]"/>
      <dgm:spPr/>
      <dgm:t>
        <a:bodyPr/>
        <a:lstStyle/>
        <a:p>
          <a:r>
            <a:rPr lang="en-US" b="0" dirty="0">
              <a:solidFill>
                <a:srgbClr val="1E1C11"/>
              </a:solidFill>
            </a:rPr>
            <a:t>Build MVP with built in measures</a:t>
          </a:r>
        </a:p>
      </dgm:t>
    </dgm:pt>
    <dgm:pt modelId="{1F5F183F-811E-E747-BFDA-1D561BE39CCE}" type="parTrans" cxnId="{7B8C79F3-D507-A148-AED4-FD54479B2891}">
      <dgm:prSet/>
      <dgm:spPr/>
      <dgm:t>
        <a:bodyPr/>
        <a:lstStyle/>
        <a:p>
          <a:endParaRPr lang="en-US"/>
        </a:p>
      </dgm:t>
    </dgm:pt>
    <dgm:pt modelId="{53F2ECEB-5924-2A44-9239-32D2FEA0D763}" type="sibTrans" cxnId="{7B8C79F3-D507-A148-AED4-FD54479B2891}">
      <dgm:prSet/>
      <dgm:spPr/>
      <dgm:t>
        <a:bodyPr/>
        <a:lstStyle/>
        <a:p>
          <a:endParaRPr lang="en-US"/>
        </a:p>
      </dgm:t>
    </dgm:pt>
    <dgm:pt modelId="{7ED262EE-14CA-D64E-A5A0-210D4695BDBE}">
      <dgm:prSet phldrT="[Text]"/>
      <dgm:spPr/>
      <dgm:t>
        <a:bodyPr/>
        <a:lstStyle/>
        <a:p>
          <a:r>
            <a:rPr lang="en-US" b="0" dirty="0">
              <a:solidFill>
                <a:srgbClr val="1E1C11"/>
              </a:solidFill>
            </a:rPr>
            <a:t>Continuous Delivery / DevOps</a:t>
          </a:r>
        </a:p>
      </dgm:t>
    </dgm:pt>
    <dgm:pt modelId="{1BB6FFEA-F853-7F48-BBBC-8747ECFFEFC8}" type="parTrans" cxnId="{2EEFD1B1-46F5-1743-906E-2918844524D1}">
      <dgm:prSet/>
      <dgm:spPr/>
      <dgm:t>
        <a:bodyPr/>
        <a:lstStyle/>
        <a:p>
          <a:endParaRPr lang="en-US"/>
        </a:p>
      </dgm:t>
    </dgm:pt>
    <dgm:pt modelId="{CB034988-1451-E142-8A0D-F1C584690A24}" type="sibTrans" cxnId="{2EEFD1B1-46F5-1743-906E-2918844524D1}">
      <dgm:prSet/>
      <dgm:spPr/>
      <dgm:t>
        <a:bodyPr/>
        <a:lstStyle/>
        <a:p>
          <a:endParaRPr lang="en-US"/>
        </a:p>
      </dgm:t>
    </dgm:pt>
    <dgm:pt modelId="{9C3C3DC9-662E-5C46-AEC0-EA6E92201A25}" type="pres">
      <dgm:prSet presAssocID="{3D103F4E-7DB9-D442-825D-75879B267E35}" presName="cycle" presStyleCnt="0">
        <dgm:presLayoutVars>
          <dgm:dir/>
          <dgm:resizeHandles val="exact"/>
        </dgm:presLayoutVars>
      </dgm:prSet>
      <dgm:spPr/>
    </dgm:pt>
    <dgm:pt modelId="{8EE95165-BE49-C847-87EE-28E9396C2405}" type="pres">
      <dgm:prSet presAssocID="{01BFF501-08AC-AD4A-85B6-10B2FED9B404}" presName="dummy" presStyleCnt="0"/>
      <dgm:spPr/>
    </dgm:pt>
    <dgm:pt modelId="{E761FD1C-8848-EC43-9708-8C6FD920714C}" type="pres">
      <dgm:prSet presAssocID="{01BFF501-08AC-AD4A-85B6-10B2FED9B404}" presName="node" presStyleLbl="revTx" presStyleIdx="0" presStyleCnt="4">
        <dgm:presLayoutVars>
          <dgm:bulletEnabled val="1"/>
        </dgm:presLayoutVars>
      </dgm:prSet>
      <dgm:spPr/>
    </dgm:pt>
    <dgm:pt modelId="{5AF4EEE8-E83F-0C48-BE8A-F8458069B6C3}" type="pres">
      <dgm:prSet presAssocID="{0822637C-C180-484E-A6DC-A29686107A99}" presName="sibTrans" presStyleLbl="node1" presStyleIdx="0" presStyleCnt="4"/>
      <dgm:spPr/>
    </dgm:pt>
    <dgm:pt modelId="{42675E26-56A4-5F43-A50E-2CBA5745F5BB}" type="pres">
      <dgm:prSet presAssocID="{4D75C166-97B8-184F-A64D-CB1842FA1E91}" presName="dummy" presStyleCnt="0"/>
      <dgm:spPr/>
    </dgm:pt>
    <dgm:pt modelId="{B6BE82A2-1B7C-7148-AD36-D747B98216A7}" type="pres">
      <dgm:prSet presAssocID="{4D75C166-97B8-184F-A64D-CB1842FA1E91}" presName="node" presStyleLbl="revTx" presStyleIdx="1" presStyleCnt="4">
        <dgm:presLayoutVars>
          <dgm:bulletEnabled val="1"/>
        </dgm:presLayoutVars>
      </dgm:prSet>
      <dgm:spPr/>
    </dgm:pt>
    <dgm:pt modelId="{C578407F-C34E-FE44-BFB1-465620AD87FC}" type="pres">
      <dgm:prSet presAssocID="{53F2ECEB-5924-2A44-9239-32D2FEA0D763}" presName="sibTrans" presStyleLbl="node1" presStyleIdx="1" presStyleCnt="4"/>
      <dgm:spPr/>
    </dgm:pt>
    <dgm:pt modelId="{3DB839E0-821A-FE4D-9AB1-02EE16863FFC}" type="pres">
      <dgm:prSet presAssocID="{7ED262EE-14CA-D64E-A5A0-210D4695BDBE}" presName="dummy" presStyleCnt="0"/>
      <dgm:spPr/>
    </dgm:pt>
    <dgm:pt modelId="{057934B9-4D05-864D-B598-1680F17FEFC4}" type="pres">
      <dgm:prSet presAssocID="{7ED262EE-14CA-D64E-A5A0-210D4695BDBE}" presName="node" presStyleLbl="revTx" presStyleIdx="2" presStyleCnt="4">
        <dgm:presLayoutVars>
          <dgm:bulletEnabled val="1"/>
        </dgm:presLayoutVars>
      </dgm:prSet>
      <dgm:spPr/>
    </dgm:pt>
    <dgm:pt modelId="{DDE8E3E7-B69E-BA40-9C1C-76C708E606DA}" type="pres">
      <dgm:prSet presAssocID="{CB034988-1451-E142-8A0D-F1C584690A24}" presName="sibTrans" presStyleLbl="node1" presStyleIdx="2" presStyleCnt="4"/>
      <dgm:spPr/>
    </dgm:pt>
    <dgm:pt modelId="{932AAFFD-9F37-4E4C-AE31-5A9074CD3742}" type="pres">
      <dgm:prSet presAssocID="{4CFD0EAF-F706-A34C-A090-1AEBA80F6CD5}" presName="dummy" presStyleCnt="0"/>
      <dgm:spPr/>
    </dgm:pt>
    <dgm:pt modelId="{91DF8D87-2663-EA4C-BC33-9A73CA2CDB7B}" type="pres">
      <dgm:prSet presAssocID="{4CFD0EAF-F706-A34C-A090-1AEBA80F6CD5}" presName="node" presStyleLbl="revTx" presStyleIdx="3" presStyleCnt="4">
        <dgm:presLayoutVars>
          <dgm:bulletEnabled val="1"/>
        </dgm:presLayoutVars>
      </dgm:prSet>
      <dgm:spPr/>
    </dgm:pt>
    <dgm:pt modelId="{24576403-44A0-4B41-85EC-C9F589528B0A}" type="pres">
      <dgm:prSet presAssocID="{45ED5D1D-276D-E44A-BA7B-3EDE3C89C0C0}" presName="sibTrans" presStyleLbl="node1" presStyleIdx="3" presStyleCnt="4"/>
      <dgm:spPr/>
    </dgm:pt>
  </dgm:ptLst>
  <dgm:cxnLst>
    <dgm:cxn modelId="{758B5222-47DA-E449-8CE8-E2AB139BBFDF}" srcId="{3D103F4E-7DB9-D442-825D-75879B267E35}" destId="{01BFF501-08AC-AD4A-85B6-10B2FED9B404}" srcOrd="0" destOrd="0" parTransId="{B7DDFF83-3AA3-3C4E-A26D-D46A60866669}" sibTransId="{0822637C-C180-484E-A6DC-A29686107A99}"/>
    <dgm:cxn modelId="{DDA3BA29-AB91-2B43-9EB9-F1C5361F6F8D}" type="presOf" srcId="{CB034988-1451-E142-8A0D-F1C584690A24}" destId="{DDE8E3E7-B69E-BA40-9C1C-76C708E606DA}" srcOrd="0" destOrd="0" presId="urn:microsoft.com/office/officeart/2005/8/layout/cycle1"/>
    <dgm:cxn modelId="{9D7CE444-135F-5646-83DD-08163A48ACAE}" type="presOf" srcId="{45ED5D1D-276D-E44A-BA7B-3EDE3C89C0C0}" destId="{24576403-44A0-4B41-85EC-C9F589528B0A}" srcOrd="0" destOrd="0" presId="urn:microsoft.com/office/officeart/2005/8/layout/cycle1"/>
    <dgm:cxn modelId="{DD2A7D46-E947-BC48-A193-4D1AC733BB94}" type="presOf" srcId="{4D75C166-97B8-184F-A64D-CB1842FA1E91}" destId="{B6BE82A2-1B7C-7148-AD36-D747B98216A7}" srcOrd="0" destOrd="0" presId="urn:microsoft.com/office/officeart/2005/8/layout/cycle1"/>
    <dgm:cxn modelId="{9FA0097D-7A4C-4F46-ABD2-88243117A42E}" srcId="{3D103F4E-7DB9-D442-825D-75879B267E35}" destId="{4CFD0EAF-F706-A34C-A090-1AEBA80F6CD5}" srcOrd="3" destOrd="0" parTransId="{D72BA0CE-63AB-464F-975C-24816A6DE4D7}" sibTransId="{45ED5D1D-276D-E44A-BA7B-3EDE3C89C0C0}"/>
    <dgm:cxn modelId="{5BB6F583-5817-3344-A6F4-1C26EF4275FC}" type="presOf" srcId="{01BFF501-08AC-AD4A-85B6-10B2FED9B404}" destId="{E761FD1C-8848-EC43-9708-8C6FD920714C}" srcOrd="0" destOrd="0" presId="urn:microsoft.com/office/officeart/2005/8/layout/cycle1"/>
    <dgm:cxn modelId="{1693A9AF-A00A-2E43-88F4-25BA9A59B359}" type="presOf" srcId="{53F2ECEB-5924-2A44-9239-32D2FEA0D763}" destId="{C578407F-C34E-FE44-BFB1-465620AD87FC}" srcOrd="0" destOrd="0" presId="urn:microsoft.com/office/officeart/2005/8/layout/cycle1"/>
    <dgm:cxn modelId="{2EEFD1B1-46F5-1743-906E-2918844524D1}" srcId="{3D103F4E-7DB9-D442-825D-75879B267E35}" destId="{7ED262EE-14CA-D64E-A5A0-210D4695BDBE}" srcOrd="2" destOrd="0" parTransId="{1BB6FFEA-F853-7F48-BBBC-8747ECFFEFC8}" sibTransId="{CB034988-1451-E142-8A0D-F1C584690A24}"/>
    <dgm:cxn modelId="{A9F013C5-BD42-5F4D-96BC-00021DF18854}" type="presOf" srcId="{7ED262EE-14CA-D64E-A5A0-210D4695BDBE}" destId="{057934B9-4D05-864D-B598-1680F17FEFC4}" srcOrd="0" destOrd="0" presId="urn:microsoft.com/office/officeart/2005/8/layout/cycle1"/>
    <dgm:cxn modelId="{6B7E38E0-E756-0749-A469-A97A6470C0BB}" type="presOf" srcId="{4CFD0EAF-F706-A34C-A090-1AEBA80F6CD5}" destId="{91DF8D87-2663-EA4C-BC33-9A73CA2CDB7B}" srcOrd="0" destOrd="0" presId="urn:microsoft.com/office/officeart/2005/8/layout/cycle1"/>
    <dgm:cxn modelId="{0E936EE2-F83E-534E-9C67-B102DC2CE435}" type="presOf" srcId="{3D103F4E-7DB9-D442-825D-75879B267E35}" destId="{9C3C3DC9-662E-5C46-AEC0-EA6E92201A25}" srcOrd="0" destOrd="0" presId="urn:microsoft.com/office/officeart/2005/8/layout/cycle1"/>
    <dgm:cxn modelId="{4055BCE8-6691-A644-AACD-411B39E40C57}" type="presOf" srcId="{0822637C-C180-484E-A6DC-A29686107A99}" destId="{5AF4EEE8-E83F-0C48-BE8A-F8458069B6C3}" srcOrd="0" destOrd="0" presId="urn:microsoft.com/office/officeart/2005/8/layout/cycle1"/>
    <dgm:cxn modelId="{7B8C79F3-D507-A148-AED4-FD54479B2891}" srcId="{3D103F4E-7DB9-D442-825D-75879B267E35}" destId="{4D75C166-97B8-184F-A64D-CB1842FA1E91}" srcOrd="1" destOrd="0" parTransId="{1F5F183F-811E-E747-BFDA-1D561BE39CCE}" sibTransId="{53F2ECEB-5924-2A44-9239-32D2FEA0D763}"/>
    <dgm:cxn modelId="{5B55088B-0D2E-FC47-8E28-9DCAA4A2A99F}" type="presParOf" srcId="{9C3C3DC9-662E-5C46-AEC0-EA6E92201A25}" destId="{8EE95165-BE49-C847-87EE-28E9396C2405}" srcOrd="0" destOrd="0" presId="urn:microsoft.com/office/officeart/2005/8/layout/cycle1"/>
    <dgm:cxn modelId="{72E9632E-15BB-4A42-813C-B5A53B1D4A62}" type="presParOf" srcId="{9C3C3DC9-662E-5C46-AEC0-EA6E92201A25}" destId="{E761FD1C-8848-EC43-9708-8C6FD920714C}" srcOrd="1" destOrd="0" presId="urn:microsoft.com/office/officeart/2005/8/layout/cycle1"/>
    <dgm:cxn modelId="{2B5718E1-FBCB-F04F-9375-138C256CD5AE}" type="presParOf" srcId="{9C3C3DC9-662E-5C46-AEC0-EA6E92201A25}" destId="{5AF4EEE8-E83F-0C48-BE8A-F8458069B6C3}" srcOrd="2" destOrd="0" presId="urn:microsoft.com/office/officeart/2005/8/layout/cycle1"/>
    <dgm:cxn modelId="{0E6B0E5D-7E60-2948-9F99-738342D53BAC}" type="presParOf" srcId="{9C3C3DC9-662E-5C46-AEC0-EA6E92201A25}" destId="{42675E26-56A4-5F43-A50E-2CBA5745F5BB}" srcOrd="3" destOrd="0" presId="urn:microsoft.com/office/officeart/2005/8/layout/cycle1"/>
    <dgm:cxn modelId="{44BE47BE-782E-A54D-94AA-43D40AD4A677}" type="presParOf" srcId="{9C3C3DC9-662E-5C46-AEC0-EA6E92201A25}" destId="{B6BE82A2-1B7C-7148-AD36-D747B98216A7}" srcOrd="4" destOrd="0" presId="urn:microsoft.com/office/officeart/2005/8/layout/cycle1"/>
    <dgm:cxn modelId="{565FBEA7-96DF-414F-BB47-BA43DC9FE2B5}" type="presParOf" srcId="{9C3C3DC9-662E-5C46-AEC0-EA6E92201A25}" destId="{C578407F-C34E-FE44-BFB1-465620AD87FC}" srcOrd="5" destOrd="0" presId="urn:microsoft.com/office/officeart/2005/8/layout/cycle1"/>
    <dgm:cxn modelId="{1FED9694-6327-5B40-8AF0-FF2BAED8E598}" type="presParOf" srcId="{9C3C3DC9-662E-5C46-AEC0-EA6E92201A25}" destId="{3DB839E0-821A-FE4D-9AB1-02EE16863FFC}" srcOrd="6" destOrd="0" presId="urn:microsoft.com/office/officeart/2005/8/layout/cycle1"/>
    <dgm:cxn modelId="{FF19AE55-BAFC-A54F-B851-609F38FC5A95}" type="presParOf" srcId="{9C3C3DC9-662E-5C46-AEC0-EA6E92201A25}" destId="{057934B9-4D05-864D-B598-1680F17FEFC4}" srcOrd="7" destOrd="0" presId="urn:microsoft.com/office/officeart/2005/8/layout/cycle1"/>
    <dgm:cxn modelId="{5D7041AF-F339-1840-8B76-136E6DFAF04D}" type="presParOf" srcId="{9C3C3DC9-662E-5C46-AEC0-EA6E92201A25}" destId="{DDE8E3E7-B69E-BA40-9C1C-76C708E606DA}" srcOrd="8" destOrd="0" presId="urn:microsoft.com/office/officeart/2005/8/layout/cycle1"/>
    <dgm:cxn modelId="{1FE28D40-7858-E348-A31C-7D304FC48105}" type="presParOf" srcId="{9C3C3DC9-662E-5C46-AEC0-EA6E92201A25}" destId="{932AAFFD-9F37-4E4C-AE31-5A9074CD3742}" srcOrd="9" destOrd="0" presId="urn:microsoft.com/office/officeart/2005/8/layout/cycle1"/>
    <dgm:cxn modelId="{40E0F61F-81BF-4043-A7E5-9F82BDEFDD67}" type="presParOf" srcId="{9C3C3DC9-662E-5C46-AEC0-EA6E92201A25}" destId="{91DF8D87-2663-EA4C-BC33-9A73CA2CDB7B}" srcOrd="10" destOrd="0" presId="urn:microsoft.com/office/officeart/2005/8/layout/cycle1"/>
    <dgm:cxn modelId="{BBD5906F-E15C-3E4F-8B37-740F7ED9C545}" type="presParOf" srcId="{9C3C3DC9-662E-5C46-AEC0-EA6E92201A25}" destId="{24576403-44A0-4B41-85EC-C9F589528B0A}" srcOrd="11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3D103F4E-7DB9-D442-825D-75879B267E35}" type="doc">
      <dgm:prSet loTypeId="urn:microsoft.com/office/officeart/2005/8/layout/cycle1" loCatId="" qsTypeId="urn:microsoft.com/office/officeart/2005/8/quickstyle/simple4" qsCatId="simple" csTypeId="urn:microsoft.com/office/officeart/2005/8/colors/accent1_2" csCatId="accent1" phldr="1"/>
      <dgm:spPr/>
    </dgm:pt>
    <dgm:pt modelId="{F9D11403-10A3-2448-9B1E-A5DF551E9A66}">
      <dgm:prSet phldrT="[Text]"/>
      <dgm:spPr/>
      <dgm:t>
        <a:bodyPr/>
        <a:lstStyle/>
        <a:p>
          <a:r>
            <a:rPr lang="en-US" b="0" dirty="0">
              <a:solidFill>
                <a:srgbClr val="1E1C11"/>
              </a:solidFill>
            </a:rPr>
            <a:t>Visibility &amp; Automation </a:t>
          </a:r>
        </a:p>
      </dgm:t>
    </dgm:pt>
    <dgm:pt modelId="{9E19E6CD-4DAA-0F49-9213-879E977D938C}" type="parTrans" cxnId="{9D14D4AD-77FB-2D4A-90D2-C1DEE0E09F7D}">
      <dgm:prSet/>
      <dgm:spPr/>
      <dgm:t>
        <a:bodyPr/>
        <a:lstStyle/>
        <a:p>
          <a:endParaRPr lang="en-US"/>
        </a:p>
      </dgm:t>
    </dgm:pt>
    <dgm:pt modelId="{39372511-7607-7643-A541-E0F88B18517B}" type="sibTrans" cxnId="{9D14D4AD-77FB-2D4A-90D2-C1DEE0E09F7D}">
      <dgm:prSet/>
      <dgm:spPr/>
      <dgm:t>
        <a:bodyPr/>
        <a:lstStyle/>
        <a:p>
          <a:endParaRPr lang="en-US"/>
        </a:p>
      </dgm:t>
    </dgm:pt>
    <dgm:pt modelId="{9A5E6FB8-DF04-B54D-8853-BD85FFA88310}">
      <dgm:prSet phldrT="[Text]"/>
      <dgm:spPr/>
      <dgm:t>
        <a:bodyPr/>
        <a:lstStyle/>
        <a:p>
          <a:r>
            <a:rPr lang="en-US" dirty="0">
              <a:solidFill>
                <a:srgbClr val="1E1C11"/>
              </a:solidFill>
            </a:rPr>
            <a:t>Productive</a:t>
          </a:r>
        </a:p>
        <a:p>
          <a:r>
            <a:rPr lang="en-US" dirty="0">
              <a:solidFill>
                <a:srgbClr val="1E1C11"/>
              </a:solidFill>
            </a:rPr>
            <a:t>Incremental Target Architecture</a:t>
          </a:r>
        </a:p>
      </dgm:t>
    </dgm:pt>
    <dgm:pt modelId="{9DE4CA76-7E0F-F749-B4CE-0A293325ADBB}" type="parTrans" cxnId="{E8F5317C-284B-9A44-AC29-C28B0DA941A2}">
      <dgm:prSet/>
      <dgm:spPr/>
      <dgm:t>
        <a:bodyPr/>
        <a:lstStyle/>
        <a:p>
          <a:endParaRPr lang="en-US"/>
        </a:p>
      </dgm:t>
    </dgm:pt>
    <dgm:pt modelId="{DD8D1D8C-8ACC-264B-AAD1-AB9D698D25D3}" type="sibTrans" cxnId="{E8F5317C-284B-9A44-AC29-C28B0DA941A2}">
      <dgm:prSet/>
      <dgm:spPr/>
      <dgm:t>
        <a:bodyPr/>
        <a:lstStyle/>
        <a:p>
          <a:endParaRPr lang="en-US"/>
        </a:p>
      </dgm:t>
    </dgm:pt>
    <dgm:pt modelId="{01BFF501-08AC-AD4A-85B6-10B2FED9B404}">
      <dgm:prSet phldrT="[Text]"/>
      <dgm:spPr/>
      <dgm:t>
        <a:bodyPr/>
        <a:lstStyle/>
        <a:p>
          <a:r>
            <a:rPr lang="en-US" dirty="0">
              <a:solidFill>
                <a:srgbClr val="1E1C11"/>
              </a:solidFill>
            </a:rPr>
            <a:t>CI/ Continuous Delivery / DevOps</a:t>
          </a:r>
        </a:p>
      </dgm:t>
    </dgm:pt>
    <dgm:pt modelId="{B7DDFF83-3AA3-3C4E-A26D-D46A60866669}" type="parTrans" cxnId="{758B5222-47DA-E449-8CE8-E2AB139BBFDF}">
      <dgm:prSet/>
      <dgm:spPr/>
      <dgm:t>
        <a:bodyPr/>
        <a:lstStyle/>
        <a:p>
          <a:endParaRPr lang="en-US"/>
        </a:p>
      </dgm:t>
    </dgm:pt>
    <dgm:pt modelId="{0822637C-C180-484E-A6DC-A29686107A99}" type="sibTrans" cxnId="{758B5222-47DA-E449-8CE8-E2AB139BBFDF}">
      <dgm:prSet/>
      <dgm:spPr/>
      <dgm:t>
        <a:bodyPr/>
        <a:lstStyle/>
        <a:p>
          <a:endParaRPr lang="en-US"/>
        </a:p>
      </dgm:t>
    </dgm:pt>
    <dgm:pt modelId="{4D75C166-97B8-184F-A64D-CB1842FA1E91}">
      <dgm:prSet phldrT="[Text]"/>
      <dgm:spPr/>
      <dgm:t>
        <a:bodyPr/>
        <a:lstStyle/>
        <a:p>
          <a:r>
            <a:rPr lang="en-US" dirty="0">
              <a:solidFill>
                <a:srgbClr val="1E1C11"/>
              </a:solidFill>
            </a:rPr>
            <a:t>Build MVP with built in measures</a:t>
          </a:r>
        </a:p>
      </dgm:t>
    </dgm:pt>
    <dgm:pt modelId="{1F5F183F-811E-E747-BFDA-1D561BE39CCE}" type="parTrans" cxnId="{7B8C79F3-D507-A148-AED4-FD54479B2891}">
      <dgm:prSet/>
      <dgm:spPr/>
      <dgm:t>
        <a:bodyPr/>
        <a:lstStyle/>
        <a:p>
          <a:endParaRPr lang="en-US"/>
        </a:p>
      </dgm:t>
    </dgm:pt>
    <dgm:pt modelId="{53F2ECEB-5924-2A44-9239-32D2FEA0D763}" type="sibTrans" cxnId="{7B8C79F3-D507-A148-AED4-FD54479B2891}">
      <dgm:prSet/>
      <dgm:spPr/>
      <dgm:t>
        <a:bodyPr/>
        <a:lstStyle/>
        <a:p>
          <a:endParaRPr lang="en-US"/>
        </a:p>
      </dgm:t>
    </dgm:pt>
    <dgm:pt modelId="{9C3C3DC9-662E-5C46-AEC0-EA6E92201A25}" type="pres">
      <dgm:prSet presAssocID="{3D103F4E-7DB9-D442-825D-75879B267E35}" presName="cycle" presStyleCnt="0">
        <dgm:presLayoutVars>
          <dgm:dir/>
          <dgm:resizeHandles val="exact"/>
        </dgm:presLayoutVars>
      </dgm:prSet>
      <dgm:spPr/>
    </dgm:pt>
    <dgm:pt modelId="{D63B5F9D-1D5A-8947-B164-598A38033BC2}" type="pres">
      <dgm:prSet presAssocID="{F9D11403-10A3-2448-9B1E-A5DF551E9A66}" presName="dummy" presStyleCnt="0"/>
      <dgm:spPr/>
    </dgm:pt>
    <dgm:pt modelId="{2EC51228-8048-E446-ACE2-14EFD194261B}" type="pres">
      <dgm:prSet presAssocID="{F9D11403-10A3-2448-9B1E-A5DF551E9A66}" presName="node" presStyleLbl="revTx" presStyleIdx="0" presStyleCnt="4">
        <dgm:presLayoutVars>
          <dgm:bulletEnabled val="1"/>
        </dgm:presLayoutVars>
      </dgm:prSet>
      <dgm:spPr/>
    </dgm:pt>
    <dgm:pt modelId="{8A3D158A-A452-5449-BC45-F2D4C0B7C856}" type="pres">
      <dgm:prSet presAssocID="{39372511-7607-7643-A541-E0F88B18517B}" presName="sibTrans" presStyleLbl="node1" presStyleIdx="0" presStyleCnt="4"/>
      <dgm:spPr/>
    </dgm:pt>
    <dgm:pt modelId="{8EE95165-BE49-C847-87EE-28E9396C2405}" type="pres">
      <dgm:prSet presAssocID="{01BFF501-08AC-AD4A-85B6-10B2FED9B404}" presName="dummy" presStyleCnt="0"/>
      <dgm:spPr/>
    </dgm:pt>
    <dgm:pt modelId="{E761FD1C-8848-EC43-9708-8C6FD920714C}" type="pres">
      <dgm:prSet presAssocID="{01BFF501-08AC-AD4A-85B6-10B2FED9B404}" presName="node" presStyleLbl="revTx" presStyleIdx="1" presStyleCnt="4">
        <dgm:presLayoutVars>
          <dgm:bulletEnabled val="1"/>
        </dgm:presLayoutVars>
      </dgm:prSet>
      <dgm:spPr/>
    </dgm:pt>
    <dgm:pt modelId="{5AF4EEE8-E83F-0C48-BE8A-F8458069B6C3}" type="pres">
      <dgm:prSet presAssocID="{0822637C-C180-484E-A6DC-A29686107A99}" presName="sibTrans" presStyleLbl="node1" presStyleIdx="1" presStyleCnt="4"/>
      <dgm:spPr/>
    </dgm:pt>
    <dgm:pt modelId="{85BBB647-168C-F442-8DCF-59E9D674174B}" type="pres">
      <dgm:prSet presAssocID="{9A5E6FB8-DF04-B54D-8853-BD85FFA88310}" presName="dummy" presStyleCnt="0"/>
      <dgm:spPr/>
    </dgm:pt>
    <dgm:pt modelId="{EB8D667E-0FDF-2B48-A339-E788C72F4EB6}" type="pres">
      <dgm:prSet presAssocID="{9A5E6FB8-DF04-B54D-8853-BD85FFA88310}" presName="node" presStyleLbl="revTx" presStyleIdx="2" presStyleCnt="4">
        <dgm:presLayoutVars>
          <dgm:bulletEnabled val="1"/>
        </dgm:presLayoutVars>
      </dgm:prSet>
      <dgm:spPr/>
    </dgm:pt>
    <dgm:pt modelId="{FFC41098-557A-E842-AAF0-7D026DAB7A13}" type="pres">
      <dgm:prSet presAssocID="{DD8D1D8C-8ACC-264B-AAD1-AB9D698D25D3}" presName="sibTrans" presStyleLbl="node1" presStyleIdx="2" presStyleCnt="4"/>
      <dgm:spPr/>
    </dgm:pt>
    <dgm:pt modelId="{42675E26-56A4-5F43-A50E-2CBA5745F5BB}" type="pres">
      <dgm:prSet presAssocID="{4D75C166-97B8-184F-A64D-CB1842FA1E91}" presName="dummy" presStyleCnt="0"/>
      <dgm:spPr/>
    </dgm:pt>
    <dgm:pt modelId="{B6BE82A2-1B7C-7148-AD36-D747B98216A7}" type="pres">
      <dgm:prSet presAssocID="{4D75C166-97B8-184F-A64D-CB1842FA1E91}" presName="node" presStyleLbl="revTx" presStyleIdx="3" presStyleCnt="4">
        <dgm:presLayoutVars>
          <dgm:bulletEnabled val="1"/>
        </dgm:presLayoutVars>
      </dgm:prSet>
      <dgm:spPr/>
    </dgm:pt>
    <dgm:pt modelId="{C578407F-C34E-FE44-BFB1-465620AD87FC}" type="pres">
      <dgm:prSet presAssocID="{53F2ECEB-5924-2A44-9239-32D2FEA0D763}" presName="sibTrans" presStyleLbl="node1" presStyleIdx="3" presStyleCnt="4"/>
      <dgm:spPr/>
    </dgm:pt>
  </dgm:ptLst>
  <dgm:cxnLst>
    <dgm:cxn modelId="{758B5222-47DA-E449-8CE8-E2AB139BBFDF}" srcId="{3D103F4E-7DB9-D442-825D-75879B267E35}" destId="{01BFF501-08AC-AD4A-85B6-10B2FED9B404}" srcOrd="1" destOrd="0" parTransId="{B7DDFF83-3AA3-3C4E-A26D-D46A60866669}" sibTransId="{0822637C-C180-484E-A6DC-A29686107A99}"/>
    <dgm:cxn modelId="{1E624D39-91A7-3B41-9DB2-334FCDEF23F9}" type="presOf" srcId="{9A5E6FB8-DF04-B54D-8853-BD85FFA88310}" destId="{EB8D667E-0FDF-2B48-A339-E788C72F4EB6}" srcOrd="0" destOrd="0" presId="urn:microsoft.com/office/officeart/2005/8/layout/cycle1"/>
    <dgm:cxn modelId="{E8F5317C-284B-9A44-AC29-C28B0DA941A2}" srcId="{3D103F4E-7DB9-D442-825D-75879B267E35}" destId="{9A5E6FB8-DF04-B54D-8853-BD85FFA88310}" srcOrd="2" destOrd="0" parTransId="{9DE4CA76-7E0F-F749-B4CE-0A293325ADBB}" sibTransId="{DD8D1D8C-8ACC-264B-AAD1-AB9D698D25D3}"/>
    <dgm:cxn modelId="{B4B3E880-023F-DD43-BC1D-313BEE41D161}" type="presOf" srcId="{F9D11403-10A3-2448-9B1E-A5DF551E9A66}" destId="{2EC51228-8048-E446-ACE2-14EFD194261B}" srcOrd="0" destOrd="0" presId="urn:microsoft.com/office/officeart/2005/8/layout/cycle1"/>
    <dgm:cxn modelId="{0059A781-0DA1-3344-BC84-B77316C9A0CE}" type="presOf" srcId="{4D75C166-97B8-184F-A64D-CB1842FA1E91}" destId="{B6BE82A2-1B7C-7148-AD36-D747B98216A7}" srcOrd="0" destOrd="0" presId="urn:microsoft.com/office/officeart/2005/8/layout/cycle1"/>
    <dgm:cxn modelId="{9D14D4AD-77FB-2D4A-90D2-C1DEE0E09F7D}" srcId="{3D103F4E-7DB9-D442-825D-75879B267E35}" destId="{F9D11403-10A3-2448-9B1E-A5DF551E9A66}" srcOrd="0" destOrd="0" parTransId="{9E19E6CD-4DAA-0F49-9213-879E977D938C}" sibTransId="{39372511-7607-7643-A541-E0F88B18517B}"/>
    <dgm:cxn modelId="{584B02BA-2A40-EF4E-B52B-5626E38C8A3A}" type="presOf" srcId="{DD8D1D8C-8ACC-264B-AAD1-AB9D698D25D3}" destId="{FFC41098-557A-E842-AAF0-7D026DAB7A13}" srcOrd="0" destOrd="0" presId="urn:microsoft.com/office/officeart/2005/8/layout/cycle1"/>
    <dgm:cxn modelId="{611101C2-A2B2-3941-AF4C-FB4A6D9A25BC}" type="presOf" srcId="{39372511-7607-7643-A541-E0F88B18517B}" destId="{8A3D158A-A452-5449-BC45-F2D4C0B7C856}" srcOrd="0" destOrd="0" presId="urn:microsoft.com/office/officeart/2005/8/layout/cycle1"/>
    <dgm:cxn modelId="{387733C4-A36E-C544-8D4B-54D418B29F28}" type="presOf" srcId="{3D103F4E-7DB9-D442-825D-75879B267E35}" destId="{9C3C3DC9-662E-5C46-AEC0-EA6E92201A25}" srcOrd="0" destOrd="0" presId="urn:microsoft.com/office/officeart/2005/8/layout/cycle1"/>
    <dgm:cxn modelId="{642E6BD6-F1C7-6A45-9159-3443D6A28D44}" type="presOf" srcId="{0822637C-C180-484E-A6DC-A29686107A99}" destId="{5AF4EEE8-E83F-0C48-BE8A-F8458069B6C3}" srcOrd="0" destOrd="0" presId="urn:microsoft.com/office/officeart/2005/8/layout/cycle1"/>
    <dgm:cxn modelId="{F48F99D9-D898-A848-AD47-D68942DE3DB1}" type="presOf" srcId="{53F2ECEB-5924-2A44-9239-32D2FEA0D763}" destId="{C578407F-C34E-FE44-BFB1-465620AD87FC}" srcOrd="0" destOrd="0" presId="urn:microsoft.com/office/officeart/2005/8/layout/cycle1"/>
    <dgm:cxn modelId="{FB730CEE-B6A7-8446-AA25-249DAC8E1724}" type="presOf" srcId="{01BFF501-08AC-AD4A-85B6-10B2FED9B404}" destId="{E761FD1C-8848-EC43-9708-8C6FD920714C}" srcOrd="0" destOrd="0" presId="urn:microsoft.com/office/officeart/2005/8/layout/cycle1"/>
    <dgm:cxn modelId="{7B8C79F3-D507-A148-AED4-FD54479B2891}" srcId="{3D103F4E-7DB9-D442-825D-75879B267E35}" destId="{4D75C166-97B8-184F-A64D-CB1842FA1E91}" srcOrd="3" destOrd="0" parTransId="{1F5F183F-811E-E747-BFDA-1D561BE39CCE}" sibTransId="{53F2ECEB-5924-2A44-9239-32D2FEA0D763}"/>
    <dgm:cxn modelId="{5E5025B1-F1D2-4C46-BE41-A246AE744F5B}" type="presParOf" srcId="{9C3C3DC9-662E-5C46-AEC0-EA6E92201A25}" destId="{D63B5F9D-1D5A-8947-B164-598A38033BC2}" srcOrd="0" destOrd="0" presId="urn:microsoft.com/office/officeart/2005/8/layout/cycle1"/>
    <dgm:cxn modelId="{53285A0B-9AB9-B747-85CE-5370A3FC354E}" type="presParOf" srcId="{9C3C3DC9-662E-5C46-AEC0-EA6E92201A25}" destId="{2EC51228-8048-E446-ACE2-14EFD194261B}" srcOrd="1" destOrd="0" presId="urn:microsoft.com/office/officeart/2005/8/layout/cycle1"/>
    <dgm:cxn modelId="{FFFE0220-AA87-9B4E-AE40-A4BB077A0AD4}" type="presParOf" srcId="{9C3C3DC9-662E-5C46-AEC0-EA6E92201A25}" destId="{8A3D158A-A452-5449-BC45-F2D4C0B7C856}" srcOrd="2" destOrd="0" presId="urn:microsoft.com/office/officeart/2005/8/layout/cycle1"/>
    <dgm:cxn modelId="{57283E62-62D4-964A-A2AD-B30F14145D4C}" type="presParOf" srcId="{9C3C3DC9-662E-5C46-AEC0-EA6E92201A25}" destId="{8EE95165-BE49-C847-87EE-28E9396C2405}" srcOrd="3" destOrd="0" presId="urn:microsoft.com/office/officeart/2005/8/layout/cycle1"/>
    <dgm:cxn modelId="{CC65D4B0-72AC-4540-A01C-850805FA82D1}" type="presParOf" srcId="{9C3C3DC9-662E-5C46-AEC0-EA6E92201A25}" destId="{E761FD1C-8848-EC43-9708-8C6FD920714C}" srcOrd="4" destOrd="0" presId="urn:microsoft.com/office/officeart/2005/8/layout/cycle1"/>
    <dgm:cxn modelId="{83F24A99-4904-FB49-9877-5126A45A39F0}" type="presParOf" srcId="{9C3C3DC9-662E-5C46-AEC0-EA6E92201A25}" destId="{5AF4EEE8-E83F-0C48-BE8A-F8458069B6C3}" srcOrd="5" destOrd="0" presId="urn:microsoft.com/office/officeart/2005/8/layout/cycle1"/>
    <dgm:cxn modelId="{CA88252D-7D4C-9647-9E90-6DFD046F91AD}" type="presParOf" srcId="{9C3C3DC9-662E-5C46-AEC0-EA6E92201A25}" destId="{85BBB647-168C-F442-8DCF-59E9D674174B}" srcOrd="6" destOrd="0" presId="urn:microsoft.com/office/officeart/2005/8/layout/cycle1"/>
    <dgm:cxn modelId="{C338E07F-9C65-F440-8BB6-F3A2648987E7}" type="presParOf" srcId="{9C3C3DC9-662E-5C46-AEC0-EA6E92201A25}" destId="{EB8D667E-0FDF-2B48-A339-E788C72F4EB6}" srcOrd="7" destOrd="0" presId="urn:microsoft.com/office/officeart/2005/8/layout/cycle1"/>
    <dgm:cxn modelId="{CBBDF2D0-FB1A-1840-A973-AD5F74B861B7}" type="presParOf" srcId="{9C3C3DC9-662E-5C46-AEC0-EA6E92201A25}" destId="{FFC41098-557A-E842-AAF0-7D026DAB7A13}" srcOrd="8" destOrd="0" presId="urn:microsoft.com/office/officeart/2005/8/layout/cycle1"/>
    <dgm:cxn modelId="{262E83B2-72F9-9646-8229-887713C41EC2}" type="presParOf" srcId="{9C3C3DC9-662E-5C46-AEC0-EA6E92201A25}" destId="{42675E26-56A4-5F43-A50E-2CBA5745F5BB}" srcOrd="9" destOrd="0" presId="urn:microsoft.com/office/officeart/2005/8/layout/cycle1"/>
    <dgm:cxn modelId="{483740AE-1AC7-AA4E-BCFC-02562FFCE847}" type="presParOf" srcId="{9C3C3DC9-662E-5C46-AEC0-EA6E92201A25}" destId="{B6BE82A2-1B7C-7148-AD36-D747B98216A7}" srcOrd="10" destOrd="0" presId="urn:microsoft.com/office/officeart/2005/8/layout/cycle1"/>
    <dgm:cxn modelId="{728E4AF8-252D-7446-B958-8F630B56BF82}" type="presParOf" srcId="{9C3C3DC9-662E-5C46-AEC0-EA6E92201A25}" destId="{C578407F-C34E-FE44-BFB1-465620AD87FC}" srcOrd="11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BC0BEC10-825F-DF4F-9EE8-98E76E27BF43}" type="doc">
      <dgm:prSet loTypeId="urn:microsoft.com/office/officeart/2005/8/layout/hList1" loCatId="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58588BC-259D-0C42-B012-850B8A1992D8}">
      <dgm:prSet/>
      <dgm:spPr/>
      <dgm:t>
        <a:bodyPr/>
        <a:lstStyle/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Reduce Unimplemented backlog items</a:t>
          </a:r>
        </a:p>
      </dgm:t>
    </dgm:pt>
    <dgm:pt modelId="{D50D9496-72CA-FA48-B6B2-25B7B47D855A}" type="parTrans" cxnId="{E8658792-DBC7-A34B-AF4F-69C7AD4E3B8C}">
      <dgm:prSet/>
      <dgm:spPr/>
      <dgm:t>
        <a:bodyPr/>
        <a:lstStyle/>
        <a:p>
          <a:endParaRPr lang="en-US"/>
        </a:p>
      </dgm:t>
    </dgm:pt>
    <dgm:pt modelId="{45D8B6E6-D12D-A04C-8A5D-9689BC7BBE64}" type="sibTrans" cxnId="{E8658792-DBC7-A34B-AF4F-69C7AD4E3B8C}">
      <dgm:prSet/>
      <dgm:spPr/>
      <dgm:t>
        <a:bodyPr/>
        <a:lstStyle/>
        <a:p>
          <a:endParaRPr lang="en-US"/>
        </a:p>
      </dgm:t>
    </dgm:pt>
    <dgm:pt modelId="{0E1DA0A8-B8F5-A048-A6C4-1DF4CDF47341}">
      <dgm:prSet/>
      <dgm:spPr/>
      <dgm:t>
        <a:bodyPr/>
        <a:lstStyle/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Reduce Bugs</a:t>
          </a:r>
        </a:p>
      </dgm:t>
    </dgm:pt>
    <dgm:pt modelId="{076672DD-AE42-5740-9839-FB07A5A97446}" type="parTrans" cxnId="{F9E67821-16A5-F84B-9333-6077E9C22AD6}">
      <dgm:prSet/>
      <dgm:spPr/>
      <dgm:t>
        <a:bodyPr/>
        <a:lstStyle/>
        <a:p>
          <a:endParaRPr lang="en-US"/>
        </a:p>
      </dgm:t>
    </dgm:pt>
    <dgm:pt modelId="{4AC32F38-EB6A-764B-BDDF-ADEA7246FFD9}" type="sibTrans" cxnId="{F9E67821-16A5-F84B-9333-6077E9C22AD6}">
      <dgm:prSet/>
      <dgm:spPr/>
      <dgm:t>
        <a:bodyPr/>
        <a:lstStyle/>
        <a:p>
          <a:endParaRPr lang="en-US"/>
        </a:p>
      </dgm:t>
    </dgm:pt>
    <dgm:pt modelId="{98284B18-4C5F-2D41-BC30-BE107D31B992}">
      <dgm:prSet/>
      <dgm:spPr/>
      <dgm:t>
        <a:bodyPr/>
        <a:lstStyle/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Untested code</a:t>
          </a:r>
        </a:p>
      </dgm:t>
    </dgm:pt>
    <dgm:pt modelId="{61FA5639-25D6-5743-86B9-82ABB86A6481}" type="parTrans" cxnId="{9192C03F-9A5A-7E46-90D4-663459E9D299}">
      <dgm:prSet/>
      <dgm:spPr/>
      <dgm:t>
        <a:bodyPr/>
        <a:lstStyle/>
        <a:p>
          <a:endParaRPr lang="en-US"/>
        </a:p>
      </dgm:t>
    </dgm:pt>
    <dgm:pt modelId="{A11A7C3D-6806-584A-B58E-BC42EEA4EBDB}" type="sibTrans" cxnId="{9192C03F-9A5A-7E46-90D4-663459E9D299}">
      <dgm:prSet/>
      <dgm:spPr/>
      <dgm:t>
        <a:bodyPr/>
        <a:lstStyle/>
        <a:p>
          <a:endParaRPr lang="en-US"/>
        </a:p>
      </dgm:t>
    </dgm:pt>
    <dgm:pt modelId="{4E4379B4-34E1-024C-A21A-811C233BA772}">
      <dgm:prSet/>
      <dgm:spPr/>
      <dgm:t>
        <a:bodyPr/>
        <a:lstStyle/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Code changes not in production</a:t>
          </a:r>
        </a:p>
      </dgm:t>
    </dgm:pt>
    <dgm:pt modelId="{395C5DBF-F2A4-BA42-85AA-AE308C718699}" type="parTrans" cxnId="{AF0AA7A9-8182-1C45-8350-BA473BAFB729}">
      <dgm:prSet/>
      <dgm:spPr/>
      <dgm:t>
        <a:bodyPr/>
        <a:lstStyle/>
        <a:p>
          <a:endParaRPr lang="en-US"/>
        </a:p>
      </dgm:t>
    </dgm:pt>
    <dgm:pt modelId="{03236CC5-4C36-A745-98FF-17932BA89F04}" type="sibTrans" cxnId="{AF0AA7A9-8182-1C45-8350-BA473BAFB729}">
      <dgm:prSet/>
      <dgm:spPr/>
      <dgm:t>
        <a:bodyPr/>
        <a:lstStyle/>
        <a:p>
          <a:endParaRPr lang="en-US"/>
        </a:p>
      </dgm:t>
    </dgm:pt>
    <dgm:pt modelId="{88C27B56-801D-9C43-90FC-42BE427CB43A}">
      <dgm:prSet/>
      <dgm:spPr/>
      <dgm:t>
        <a:bodyPr/>
        <a:lstStyle/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Compiled but not tested code</a:t>
          </a:r>
        </a:p>
      </dgm:t>
    </dgm:pt>
    <dgm:pt modelId="{0C8BA46E-8EF3-CC49-AB13-B593D65F4DA7}" type="parTrans" cxnId="{282D9AF8-522A-C649-98BE-1950BD983877}">
      <dgm:prSet/>
      <dgm:spPr/>
      <dgm:t>
        <a:bodyPr/>
        <a:lstStyle/>
        <a:p>
          <a:endParaRPr lang="en-US"/>
        </a:p>
      </dgm:t>
    </dgm:pt>
    <dgm:pt modelId="{377B745A-C9F2-2F4F-9DB7-12BA2C665140}" type="sibTrans" cxnId="{282D9AF8-522A-C649-98BE-1950BD983877}">
      <dgm:prSet/>
      <dgm:spPr/>
      <dgm:t>
        <a:bodyPr/>
        <a:lstStyle/>
        <a:p>
          <a:endParaRPr lang="en-US"/>
        </a:p>
      </dgm:t>
    </dgm:pt>
    <dgm:pt modelId="{DEC35395-B4FA-864F-960E-C989EE22DE60}">
      <dgm:prSet/>
      <dgm:spPr/>
      <dgm:t>
        <a:bodyPr/>
        <a:lstStyle/>
        <a:p>
          <a:r>
            <a:rPr lang="en-US" dirty="0"/>
            <a:t>Improve Feedback time for </a:t>
          </a:r>
        </a:p>
      </dgm:t>
    </dgm:pt>
    <dgm:pt modelId="{637EC1B7-9D80-4F4F-87D5-3432FB34373E}" type="parTrans" cxnId="{50BCA5FF-7136-5D44-8608-4273C0B06E07}">
      <dgm:prSet/>
      <dgm:spPr/>
      <dgm:t>
        <a:bodyPr/>
        <a:lstStyle/>
        <a:p>
          <a:endParaRPr lang="en-US"/>
        </a:p>
      </dgm:t>
    </dgm:pt>
    <dgm:pt modelId="{A2E6F956-8B84-5545-BFD4-E2CF04573685}" type="sibTrans" cxnId="{50BCA5FF-7136-5D44-8608-4273C0B06E07}">
      <dgm:prSet/>
      <dgm:spPr/>
      <dgm:t>
        <a:bodyPr/>
        <a:lstStyle/>
        <a:p>
          <a:endParaRPr lang="en-US"/>
        </a:p>
      </dgm:t>
    </dgm:pt>
    <dgm:pt modelId="{E87F1301-27AF-C94A-9E7A-F650A3277304}">
      <dgm:prSet/>
      <dgm:spPr/>
      <dgm:t>
        <a:bodyPr/>
        <a:lstStyle/>
        <a:p>
          <a:r>
            <a:rPr lang="en-US" dirty="0"/>
            <a:t>User story invention  to production</a:t>
          </a:r>
        </a:p>
      </dgm:t>
    </dgm:pt>
    <dgm:pt modelId="{42F92A6C-989F-E24D-AA12-65EF679DF05E}" type="parTrans" cxnId="{27BA6F8F-5589-544B-A0DC-38D0C6B1216D}">
      <dgm:prSet/>
      <dgm:spPr/>
      <dgm:t>
        <a:bodyPr/>
        <a:lstStyle/>
        <a:p>
          <a:endParaRPr lang="en-US"/>
        </a:p>
      </dgm:t>
    </dgm:pt>
    <dgm:pt modelId="{BC370506-62EF-A74C-A48B-83732EA32787}" type="sibTrans" cxnId="{27BA6F8F-5589-544B-A0DC-38D0C6B1216D}">
      <dgm:prSet/>
      <dgm:spPr/>
      <dgm:t>
        <a:bodyPr/>
        <a:lstStyle/>
        <a:p>
          <a:endParaRPr lang="en-US"/>
        </a:p>
      </dgm:t>
    </dgm:pt>
    <dgm:pt modelId="{C44F3AEB-10AE-C845-B34B-4C2BE1DBBE3B}">
      <dgm:prSet/>
      <dgm:spPr/>
      <dgm:t>
        <a:bodyPr/>
        <a:lstStyle/>
        <a:p>
          <a:r>
            <a:rPr lang="en-US" dirty="0"/>
            <a:t>running component functional tests</a:t>
          </a:r>
        </a:p>
      </dgm:t>
    </dgm:pt>
    <dgm:pt modelId="{3FB71EB8-5F4B-074E-810B-ED99E2CC3E8D}" type="parTrans" cxnId="{B4A0A44D-8F71-4A4E-9CA6-ACAB3789289C}">
      <dgm:prSet/>
      <dgm:spPr/>
      <dgm:t>
        <a:bodyPr/>
        <a:lstStyle/>
        <a:p>
          <a:endParaRPr lang="en-US"/>
        </a:p>
      </dgm:t>
    </dgm:pt>
    <dgm:pt modelId="{AAB0987B-15D8-D74E-A169-E0074D61C205}" type="sibTrans" cxnId="{B4A0A44D-8F71-4A4E-9CA6-ACAB3789289C}">
      <dgm:prSet/>
      <dgm:spPr/>
      <dgm:t>
        <a:bodyPr/>
        <a:lstStyle/>
        <a:p>
          <a:endParaRPr lang="en-US"/>
        </a:p>
      </dgm:t>
    </dgm:pt>
    <dgm:pt modelId="{3DF998DC-559A-EE43-B684-DC46B86F999E}">
      <dgm:prSet/>
      <dgm:spPr/>
      <dgm:t>
        <a:bodyPr/>
        <a:lstStyle/>
        <a:p>
          <a:r>
            <a:rPr lang="en-US" dirty="0"/>
            <a:t>running system functional tests</a:t>
          </a:r>
        </a:p>
      </dgm:t>
    </dgm:pt>
    <dgm:pt modelId="{2FE877C1-C181-9141-997B-A6A85ACF3A41}" type="parTrans" cxnId="{C3E63239-988E-AC4E-98B2-49306E142AEF}">
      <dgm:prSet/>
      <dgm:spPr/>
      <dgm:t>
        <a:bodyPr/>
        <a:lstStyle/>
        <a:p>
          <a:endParaRPr lang="en-US"/>
        </a:p>
      </dgm:t>
    </dgm:pt>
    <dgm:pt modelId="{B62DBED3-BD1C-2E48-B7FC-78DE7F7F6D8B}" type="sibTrans" cxnId="{C3E63239-988E-AC4E-98B2-49306E142AEF}">
      <dgm:prSet/>
      <dgm:spPr/>
      <dgm:t>
        <a:bodyPr/>
        <a:lstStyle/>
        <a:p>
          <a:endParaRPr lang="en-US"/>
        </a:p>
      </dgm:t>
    </dgm:pt>
    <dgm:pt modelId="{510E05F4-7E92-AF43-A65A-6A72C56BC9B7}">
      <dgm:prSet/>
      <dgm:spPr/>
      <dgm:t>
        <a:bodyPr/>
        <a:lstStyle/>
        <a:p>
          <a:r>
            <a:rPr lang="en-US" dirty="0"/>
            <a:t>running system performance tests</a:t>
          </a:r>
        </a:p>
      </dgm:t>
    </dgm:pt>
    <dgm:pt modelId="{941A89F1-47E3-2B49-AD30-8A3F8BACF8CC}" type="parTrans" cxnId="{5884946D-FFE2-B145-B256-934D36B0ADFF}">
      <dgm:prSet/>
      <dgm:spPr/>
      <dgm:t>
        <a:bodyPr/>
        <a:lstStyle/>
        <a:p>
          <a:endParaRPr lang="en-US"/>
        </a:p>
      </dgm:t>
    </dgm:pt>
    <dgm:pt modelId="{B28CA744-C5B6-E045-BFC5-9EC62873A444}" type="sibTrans" cxnId="{5884946D-FFE2-B145-B256-934D36B0ADFF}">
      <dgm:prSet/>
      <dgm:spPr/>
      <dgm:t>
        <a:bodyPr/>
        <a:lstStyle/>
        <a:p>
          <a:endParaRPr lang="en-US"/>
        </a:p>
      </dgm:t>
    </dgm:pt>
    <dgm:pt modelId="{2C8DC2C9-6216-9344-8F07-220E42E6A426}">
      <dgm:prSet/>
      <dgm:spPr/>
      <dgm:t>
        <a:bodyPr/>
        <a:lstStyle/>
        <a:p>
          <a:r>
            <a:rPr lang="en-US" dirty="0"/>
            <a:t>Compile time</a:t>
          </a:r>
        </a:p>
      </dgm:t>
    </dgm:pt>
    <dgm:pt modelId="{5F4AD761-B339-CC40-B68B-D7A50DCD0133}" type="parTrans" cxnId="{CCCD634B-573F-FC49-8044-48BB64CA640B}">
      <dgm:prSet/>
      <dgm:spPr/>
      <dgm:t>
        <a:bodyPr/>
        <a:lstStyle/>
        <a:p>
          <a:endParaRPr lang="en-US"/>
        </a:p>
      </dgm:t>
    </dgm:pt>
    <dgm:pt modelId="{9E577A10-B22B-164B-9C87-A9A45296C176}" type="sibTrans" cxnId="{CCCD634B-573F-FC49-8044-48BB64CA640B}">
      <dgm:prSet/>
      <dgm:spPr/>
      <dgm:t>
        <a:bodyPr/>
        <a:lstStyle/>
        <a:p>
          <a:endParaRPr lang="en-US"/>
        </a:p>
      </dgm:t>
    </dgm:pt>
    <dgm:pt modelId="{FB490E9B-052B-164B-9B14-B36E4E86AFC1}">
      <dgm:prSet/>
      <dgm:spPr/>
      <dgm:t>
        <a:bodyPr/>
        <a:lstStyle/>
        <a:p>
          <a:r>
            <a:rPr lang="en-US" dirty="0"/>
            <a:t>Installation time to</a:t>
          </a:r>
        </a:p>
      </dgm:t>
    </dgm:pt>
    <dgm:pt modelId="{81C52714-A05B-2A49-B57F-22F193FD2B22}" type="parTrans" cxnId="{9FE0AA48-D31C-3D46-AA0D-DBE7CBA19D96}">
      <dgm:prSet/>
      <dgm:spPr/>
      <dgm:t>
        <a:bodyPr/>
        <a:lstStyle/>
        <a:p>
          <a:endParaRPr lang="en-US"/>
        </a:p>
      </dgm:t>
    </dgm:pt>
    <dgm:pt modelId="{00D184C5-EA86-B444-A5EB-F55C1AD9CE46}" type="sibTrans" cxnId="{9FE0AA48-D31C-3D46-AA0D-DBE7CBA19D96}">
      <dgm:prSet/>
      <dgm:spPr/>
      <dgm:t>
        <a:bodyPr/>
        <a:lstStyle/>
        <a:p>
          <a:endParaRPr lang="en-US"/>
        </a:p>
      </dgm:t>
    </dgm:pt>
    <dgm:pt modelId="{5B07A16D-2B63-B641-9495-85331B227650}">
      <dgm:prSet/>
      <dgm:spPr/>
      <dgm:t>
        <a:bodyPr/>
        <a:lstStyle/>
        <a:p>
          <a:r>
            <a:rPr lang="en-US" dirty="0"/>
            <a:t>Production environment</a:t>
          </a:r>
        </a:p>
      </dgm:t>
    </dgm:pt>
    <dgm:pt modelId="{83E767CD-4790-F84B-B2CE-83D85CEB2995}" type="parTrans" cxnId="{7B48C223-B118-D548-8015-EA4BA6AD66CE}">
      <dgm:prSet/>
      <dgm:spPr/>
      <dgm:t>
        <a:bodyPr/>
        <a:lstStyle/>
        <a:p>
          <a:endParaRPr lang="en-US"/>
        </a:p>
      </dgm:t>
    </dgm:pt>
    <dgm:pt modelId="{4703076E-4718-1542-B54D-3C53E130FF11}" type="sibTrans" cxnId="{7B48C223-B118-D548-8015-EA4BA6AD66CE}">
      <dgm:prSet/>
      <dgm:spPr/>
      <dgm:t>
        <a:bodyPr/>
        <a:lstStyle/>
        <a:p>
          <a:endParaRPr lang="en-US"/>
        </a:p>
      </dgm:t>
    </dgm:pt>
    <dgm:pt modelId="{528D1783-A477-6940-95AC-3C7C000D1053}">
      <dgm:prSet/>
      <dgm:spPr/>
      <dgm:t>
        <a:bodyPr/>
        <a:lstStyle/>
        <a:p>
          <a:r>
            <a:rPr lang="en-US" dirty="0"/>
            <a:t>Eliminate Waste</a:t>
          </a:r>
        </a:p>
      </dgm:t>
    </dgm:pt>
    <dgm:pt modelId="{CAF86D51-C392-6A4D-8055-D265609951BD}" type="parTrans" cxnId="{E8C0D513-E669-EC4D-84B9-AA62EF1F4400}">
      <dgm:prSet/>
      <dgm:spPr/>
      <dgm:t>
        <a:bodyPr/>
        <a:lstStyle/>
        <a:p>
          <a:endParaRPr lang="en-US"/>
        </a:p>
      </dgm:t>
    </dgm:pt>
    <dgm:pt modelId="{24E0E9F7-265E-5E44-8D7E-C6C0055E405E}" type="sibTrans" cxnId="{E8C0D513-E669-EC4D-84B9-AA62EF1F4400}">
      <dgm:prSet/>
      <dgm:spPr/>
      <dgm:t>
        <a:bodyPr/>
        <a:lstStyle/>
        <a:p>
          <a:endParaRPr lang="en-US"/>
        </a:p>
      </dgm:t>
    </dgm:pt>
    <dgm:pt modelId="{B5E94E30-1F96-C046-A0DC-B3BF73633846}">
      <dgm:prSet/>
      <dgm:spPr/>
      <dgm:t>
        <a:bodyPr/>
        <a:lstStyle/>
        <a:p>
          <a:r>
            <a:rPr lang="en-US" dirty="0"/>
            <a:t>Missing testing -&gt; unnecessary repeat loops</a:t>
          </a:r>
        </a:p>
      </dgm:t>
    </dgm:pt>
    <dgm:pt modelId="{BF44F9F1-15BD-1848-847A-D08D15E3E4A9}" type="parTrans" cxnId="{37B833C7-8A02-0248-9FF8-AAE5C2B4F8BE}">
      <dgm:prSet/>
      <dgm:spPr/>
      <dgm:t>
        <a:bodyPr/>
        <a:lstStyle/>
        <a:p>
          <a:endParaRPr lang="en-US"/>
        </a:p>
      </dgm:t>
    </dgm:pt>
    <dgm:pt modelId="{EE5EBFFD-80C6-8049-92CA-C9EFCCF0C362}" type="sibTrans" cxnId="{37B833C7-8A02-0248-9FF8-AAE5C2B4F8BE}">
      <dgm:prSet/>
      <dgm:spPr/>
      <dgm:t>
        <a:bodyPr/>
        <a:lstStyle/>
        <a:p>
          <a:endParaRPr lang="en-US"/>
        </a:p>
      </dgm:t>
    </dgm:pt>
    <dgm:pt modelId="{C06F8043-90EA-AA4E-84AF-81051888522D}">
      <dgm:prSet/>
      <dgm:spPr/>
      <dgm:t>
        <a:bodyPr/>
        <a:lstStyle/>
        <a:p>
          <a:r>
            <a:rPr lang="en-US" dirty="0"/>
            <a:t>Remove duplicated (repeated) work</a:t>
          </a:r>
        </a:p>
      </dgm:t>
    </dgm:pt>
    <dgm:pt modelId="{18D167BB-3E24-2A46-8301-9F926D78BD40}" type="parTrans" cxnId="{02FAA67E-11AB-E84A-90C2-7BCD57B97D26}">
      <dgm:prSet/>
      <dgm:spPr/>
      <dgm:t>
        <a:bodyPr/>
        <a:lstStyle/>
        <a:p>
          <a:endParaRPr lang="en-US"/>
        </a:p>
      </dgm:t>
    </dgm:pt>
    <dgm:pt modelId="{14D129B5-A7D8-DB42-BEFC-A5A546A6953D}" type="sibTrans" cxnId="{02FAA67E-11AB-E84A-90C2-7BCD57B97D26}">
      <dgm:prSet/>
      <dgm:spPr/>
      <dgm:t>
        <a:bodyPr/>
        <a:lstStyle/>
        <a:p>
          <a:endParaRPr lang="en-US"/>
        </a:p>
      </dgm:t>
    </dgm:pt>
    <dgm:pt modelId="{FE4D2400-192F-D946-B52C-68F710ED374C}">
      <dgm:prSet/>
      <dgm:spPr/>
      <dgm:t>
        <a:bodyPr/>
        <a:lstStyle/>
        <a:p>
          <a:r>
            <a:rPr lang="en-US" dirty="0"/>
            <a:t>Reduce/remove interim products not used afterwards</a:t>
          </a:r>
        </a:p>
      </dgm:t>
    </dgm:pt>
    <dgm:pt modelId="{5F6A19EF-ED68-3A44-818B-B6AF343BCF83}" type="parTrans" cxnId="{B041CAB4-7C94-A149-875D-24024D85A755}">
      <dgm:prSet/>
      <dgm:spPr/>
      <dgm:t>
        <a:bodyPr/>
        <a:lstStyle/>
        <a:p>
          <a:endParaRPr lang="en-US"/>
        </a:p>
      </dgm:t>
    </dgm:pt>
    <dgm:pt modelId="{20799F90-8C93-6E47-89C7-4B5C51F4DC25}" type="sibTrans" cxnId="{B041CAB4-7C94-A149-875D-24024D85A755}">
      <dgm:prSet/>
      <dgm:spPr/>
      <dgm:t>
        <a:bodyPr/>
        <a:lstStyle/>
        <a:p>
          <a:endParaRPr lang="en-US"/>
        </a:p>
      </dgm:t>
    </dgm:pt>
    <dgm:pt modelId="{42CF246D-4625-AE4C-BCC6-11382226ABF3}">
      <dgm:prSet/>
      <dgm:spPr/>
      <dgm:t>
        <a:bodyPr/>
        <a:lstStyle/>
        <a:p>
          <a:r>
            <a:rPr lang="en-US" dirty="0"/>
            <a:t>Reduce Inventory &amp; WIP</a:t>
          </a:r>
        </a:p>
      </dgm:t>
    </dgm:pt>
    <dgm:pt modelId="{04C9CB11-BDE1-9B42-9EFE-B907EB02D3B7}" type="parTrans" cxnId="{E26E9340-C7D4-DA42-BDB9-D649AB0451D9}">
      <dgm:prSet/>
      <dgm:spPr/>
      <dgm:t>
        <a:bodyPr/>
        <a:lstStyle/>
        <a:p>
          <a:endParaRPr lang="en-US"/>
        </a:p>
      </dgm:t>
    </dgm:pt>
    <dgm:pt modelId="{DBD7CFF4-AFAB-EF44-B1A0-C2AA01A581D1}" type="sibTrans" cxnId="{E26E9340-C7D4-DA42-BDB9-D649AB0451D9}">
      <dgm:prSet/>
      <dgm:spPr/>
      <dgm:t>
        <a:bodyPr/>
        <a:lstStyle/>
        <a:p>
          <a:endParaRPr lang="en-US"/>
        </a:p>
      </dgm:t>
    </dgm:pt>
    <dgm:pt modelId="{C2CA45FB-1D10-004F-8557-34D166E84A06}">
      <dgm:prSet/>
      <dgm:spPr/>
      <dgm:t>
        <a:bodyPr/>
        <a:lstStyle/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WIP Limit</a:t>
          </a:r>
        </a:p>
      </dgm:t>
    </dgm:pt>
    <dgm:pt modelId="{9D27B7BC-ECF8-B44C-9C41-DD534A9430EA}" type="parTrans" cxnId="{CBA7E746-8DB2-1A4B-86A5-60F194D1245F}">
      <dgm:prSet/>
      <dgm:spPr/>
      <dgm:t>
        <a:bodyPr/>
        <a:lstStyle/>
        <a:p>
          <a:endParaRPr lang="en-US"/>
        </a:p>
      </dgm:t>
    </dgm:pt>
    <dgm:pt modelId="{8C36D855-2B15-9143-9963-2832420A1592}" type="sibTrans" cxnId="{CBA7E746-8DB2-1A4B-86A5-60F194D1245F}">
      <dgm:prSet/>
      <dgm:spPr/>
      <dgm:t>
        <a:bodyPr/>
        <a:lstStyle/>
        <a:p>
          <a:endParaRPr lang="en-US"/>
        </a:p>
      </dgm:t>
    </dgm:pt>
    <dgm:pt modelId="{2903411A-11AB-A940-AF48-ADCD99D1DC14}">
      <dgm:prSet/>
      <dgm:spPr/>
      <dgm:t>
        <a:bodyPr/>
        <a:lstStyle/>
        <a:p>
          <a:r>
            <a:rPr lang="en-US" dirty="0"/>
            <a:t>Remove unnecessary steps</a:t>
          </a:r>
        </a:p>
      </dgm:t>
    </dgm:pt>
    <dgm:pt modelId="{199B0F6C-8EAA-8D45-A064-918FAFF7085F}" type="parTrans" cxnId="{48BBECAC-7655-2A42-B64B-50A898AC83B9}">
      <dgm:prSet/>
      <dgm:spPr/>
      <dgm:t>
        <a:bodyPr/>
        <a:lstStyle/>
        <a:p>
          <a:endParaRPr lang="en-US"/>
        </a:p>
      </dgm:t>
    </dgm:pt>
    <dgm:pt modelId="{DF8B1F2C-C57C-3B4A-8EB1-D44BC0007A4D}" type="sibTrans" cxnId="{48BBECAC-7655-2A42-B64B-50A898AC83B9}">
      <dgm:prSet/>
      <dgm:spPr/>
      <dgm:t>
        <a:bodyPr/>
        <a:lstStyle/>
        <a:p>
          <a:endParaRPr lang="en-US"/>
        </a:p>
      </dgm:t>
    </dgm:pt>
    <dgm:pt modelId="{179CC08D-C894-424D-8D38-873D9EF3B742}">
      <dgm:prSet/>
      <dgm:spPr/>
      <dgm:t>
        <a:bodyPr/>
        <a:lstStyle/>
        <a:p>
          <a:r>
            <a:rPr lang="en-US" dirty="0"/>
            <a:t>Automate manual tests </a:t>
          </a:r>
        </a:p>
      </dgm:t>
    </dgm:pt>
    <dgm:pt modelId="{FBE7884C-66D9-F640-B783-A75986110672}" type="parTrans" cxnId="{78A94D4A-DBFF-1A48-8CF7-684D7E987C23}">
      <dgm:prSet/>
      <dgm:spPr/>
      <dgm:t>
        <a:bodyPr/>
        <a:lstStyle/>
        <a:p>
          <a:endParaRPr lang="en-US"/>
        </a:p>
      </dgm:t>
    </dgm:pt>
    <dgm:pt modelId="{43CD3DCF-1561-5749-B6DA-F128C9BD6178}" type="sibTrans" cxnId="{78A94D4A-DBFF-1A48-8CF7-684D7E987C23}">
      <dgm:prSet/>
      <dgm:spPr/>
      <dgm:t>
        <a:bodyPr/>
        <a:lstStyle/>
        <a:p>
          <a:endParaRPr lang="en-US"/>
        </a:p>
      </dgm:t>
    </dgm:pt>
    <dgm:pt modelId="{A88A995C-AE4F-9542-ACE6-6D718B827720}">
      <dgm:prSet/>
      <dgm:spPr/>
      <dgm:t>
        <a:bodyPr/>
        <a:lstStyle/>
        <a:p>
          <a:r>
            <a:rPr lang="en-US" dirty="0"/>
            <a:t>Automate repeated manual steps (build, deployment)</a:t>
          </a:r>
        </a:p>
      </dgm:t>
    </dgm:pt>
    <dgm:pt modelId="{3DDC704E-15AE-FD4A-A28F-920E8E13E27A}" type="parTrans" cxnId="{7162CE09-1C13-1F4B-9771-D30F53381017}">
      <dgm:prSet/>
      <dgm:spPr/>
      <dgm:t>
        <a:bodyPr/>
        <a:lstStyle/>
        <a:p>
          <a:endParaRPr lang="en-US"/>
        </a:p>
      </dgm:t>
    </dgm:pt>
    <dgm:pt modelId="{C6199111-BA72-FC49-AC0F-491D568CF634}" type="sibTrans" cxnId="{7162CE09-1C13-1F4B-9771-D30F53381017}">
      <dgm:prSet/>
      <dgm:spPr/>
      <dgm:t>
        <a:bodyPr/>
        <a:lstStyle/>
        <a:p>
          <a:endParaRPr lang="en-US"/>
        </a:p>
      </dgm:t>
    </dgm:pt>
    <dgm:pt modelId="{23B1B50D-E793-B04A-B6C7-7478C51EC60F}">
      <dgm:prSet/>
      <dgm:spPr/>
      <dgm:t>
        <a:bodyPr/>
        <a:lstStyle/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Size of stories </a:t>
          </a:r>
        </a:p>
      </dgm:t>
    </dgm:pt>
    <dgm:pt modelId="{688E4168-4E16-0A48-BEA9-140757270CEA}" type="parTrans" cxnId="{6A4A5422-403C-2443-844B-4CFE27F7E8F4}">
      <dgm:prSet/>
      <dgm:spPr/>
      <dgm:t>
        <a:bodyPr/>
        <a:lstStyle/>
        <a:p>
          <a:endParaRPr lang="en-US"/>
        </a:p>
      </dgm:t>
    </dgm:pt>
    <dgm:pt modelId="{D29642B2-CA6D-5A4F-991F-E82DD620EE15}" type="sibTrans" cxnId="{6A4A5422-403C-2443-844B-4CFE27F7E8F4}">
      <dgm:prSet/>
      <dgm:spPr/>
      <dgm:t>
        <a:bodyPr/>
        <a:lstStyle/>
        <a:p>
          <a:endParaRPr lang="en-US"/>
        </a:p>
      </dgm:t>
    </dgm:pt>
    <dgm:pt modelId="{65921258-DA15-F84B-8C24-17DC7AF9D90F}">
      <dgm:prSet/>
      <dgm:spPr/>
      <dgm:t>
        <a:bodyPr/>
        <a:lstStyle/>
        <a:p>
          <a:pPr marL="228600" marR="0" lvl="2" indent="-114300" algn="l" defTabSz="5334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endParaRPr lang="en-US" dirty="0"/>
        </a:p>
      </dgm:t>
    </dgm:pt>
    <dgm:pt modelId="{CEF7D376-CE57-FB43-B655-5EE8C40F46F7}" type="parTrans" cxnId="{E94EFB1A-5D6E-654C-89A2-92AB6B982EA4}">
      <dgm:prSet/>
      <dgm:spPr/>
      <dgm:t>
        <a:bodyPr/>
        <a:lstStyle/>
        <a:p>
          <a:endParaRPr lang="en-US"/>
        </a:p>
      </dgm:t>
    </dgm:pt>
    <dgm:pt modelId="{79AD3AD5-0DA4-FD4F-95E5-BC6DB6886998}" type="sibTrans" cxnId="{E94EFB1A-5D6E-654C-89A2-92AB6B982EA4}">
      <dgm:prSet/>
      <dgm:spPr/>
      <dgm:t>
        <a:bodyPr/>
        <a:lstStyle/>
        <a:p>
          <a:endParaRPr lang="en-US"/>
        </a:p>
      </dgm:t>
    </dgm:pt>
    <dgm:pt modelId="{A511D5ED-604E-AC4B-81BB-45F1923FDAC6}">
      <dgm:prSet/>
      <dgm:spPr/>
      <dgm:t>
        <a:bodyPr/>
        <a:lstStyle/>
        <a:p>
          <a:r>
            <a:rPr lang="en-US" dirty="0"/>
            <a:t>Eliminate feature flags when their time has gone</a:t>
          </a:r>
        </a:p>
      </dgm:t>
    </dgm:pt>
    <dgm:pt modelId="{713D0AEE-E438-3D4B-8F13-979627585FFB}" type="parTrans" cxnId="{41D003CD-CA81-B046-B1D9-16E19FEA2D6F}">
      <dgm:prSet/>
      <dgm:spPr/>
      <dgm:t>
        <a:bodyPr/>
        <a:lstStyle/>
        <a:p>
          <a:endParaRPr lang="en-US"/>
        </a:p>
      </dgm:t>
    </dgm:pt>
    <dgm:pt modelId="{1CA37F3D-4A9C-D74F-8EDC-C17C065FE083}" type="sibTrans" cxnId="{41D003CD-CA81-B046-B1D9-16E19FEA2D6F}">
      <dgm:prSet/>
      <dgm:spPr/>
      <dgm:t>
        <a:bodyPr/>
        <a:lstStyle/>
        <a:p>
          <a:endParaRPr lang="en-US"/>
        </a:p>
      </dgm:t>
    </dgm:pt>
    <dgm:pt modelId="{E61FA7EC-9C3B-4A46-A744-65729A5AA51F}">
      <dgm:prSet/>
      <dgm:spPr/>
      <dgm:t>
        <a:bodyPr/>
        <a:lstStyle/>
        <a:p>
          <a:r>
            <a:rPr lang="en-US" dirty="0"/>
            <a:t>Commit to</a:t>
          </a:r>
        </a:p>
      </dgm:t>
    </dgm:pt>
    <dgm:pt modelId="{A75F6F1F-A408-5440-A1D6-52FE18E17E82}" type="parTrans" cxnId="{03BCF7F0-DB30-0E4D-8201-CC8993B8C809}">
      <dgm:prSet/>
      <dgm:spPr/>
      <dgm:t>
        <a:bodyPr/>
        <a:lstStyle/>
        <a:p>
          <a:endParaRPr lang="en-GB"/>
        </a:p>
      </dgm:t>
    </dgm:pt>
    <dgm:pt modelId="{13F693DD-9825-A940-A991-76D6EC902BA5}" type="sibTrans" cxnId="{03BCF7F0-DB30-0E4D-8201-CC8993B8C809}">
      <dgm:prSet/>
      <dgm:spPr/>
      <dgm:t>
        <a:bodyPr/>
        <a:lstStyle/>
        <a:p>
          <a:endParaRPr lang="en-GB"/>
        </a:p>
      </dgm:t>
    </dgm:pt>
    <dgm:pt modelId="{A2C98410-9D44-2E48-AF1A-89016B8426C0}">
      <dgm:prSet/>
      <dgm:spPr/>
      <dgm:t>
        <a:bodyPr/>
        <a:lstStyle/>
        <a:p>
          <a:r>
            <a:rPr lang="en-US" dirty="0"/>
            <a:t>running the unit tests</a:t>
          </a:r>
        </a:p>
      </dgm:t>
    </dgm:pt>
    <dgm:pt modelId="{7B5D0559-3A98-DC4E-9ED5-A07F0FD9CF47}" type="parTrans" cxnId="{BEDF5D5D-9C9B-E943-84D7-510308C47ECD}">
      <dgm:prSet/>
      <dgm:spPr/>
      <dgm:t>
        <a:bodyPr/>
        <a:lstStyle/>
        <a:p>
          <a:endParaRPr lang="en-GB"/>
        </a:p>
      </dgm:t>
    </dgm:pt>
    <dgm:pt modelId="{D14623E6-F519-D54A-AB1C-1AA18FD1EE56}" type="sibTrans" cxnId="{BEDF5D5D-9C9B-E943-84D7-510308C47ECD}">
      <dgm:prSet/>
      <dgm:spPr/>
      <dgm:t>
        <a:bodyPr/>
        <a:lstStyle/>
        <a:p>
          <a:endParaRPr lang="en-GB"/>
        </a:p>
      </dgm:t>
    </dgm:pt>
    <dgm:pt modelId="{FC33BE5A-580C-E849-8765-2E651BE8D5E2}">
      <dgm:prSet/>
      <dgm:spPr/>
      <dgm:t>
        <a:bodyPr/>
        <a:lstStyle/>
        <a:p>
          <a:r>
            <a:rPr lang="en-US" dirty="0"/>
            <a:t>Test environment</a:t>
          </a:r>
        </a:p>
      </dgm:t>
    </dgm:pt>
    <dgm:pt modelId="{451410DC-FB0D-E441-A67C-1197C1A71385}" type="parTrans" cxnId="{C94728BA-0079-1949-AAF9-C66A5D7D5446}">
      <dgm:prSet/>
      <dgm:spPr/>
      <dgm:t>
        <a:bodyPr/>
        <a:lstStyle/>
        <a:p>
          <a:endParaRPr lang="en-GB"/>
        </a:p>
      </dgm:t>
    </dgm:pt>
    <dgm:pt modelId="{D00C1632-9BF1-4D43-ACA3-2123A3A68598}" type="sibTrans" cxnId="{C94728BA-0079-1949-AAF9-C66A5D7D5446}">
      <dgm:prSet/>
      <dgm:spPr/>
      <dgm:t>
        <a:bodyPr/>
        <a:lstStyle/>
        <a:p>
          <a:endParaRPr lang="en-GB"/>
        </a:p>
      </dgm:t>
    </dgm:pt>
    <dgm:pt modelId="{0130F203-6FAF-1746-B09A-D9DCE9FB3E55}">
      <dgm:prSet/>
      <dgm:spPr/>
      <dgm:t>
        <a:bodyPr/>
        <a:lstStyle/>
        <a:p>
          <a:r>
            <a:rPr lang="en-US" dirty="0"/>
            <a:t>Test time</a:t>
          </a:r>
        </a:p>
      </dgm:t>
    </dgm:pt>
    <dgm:pt modelId="{366465F5-F388-C04F-A9D6-9887C3144563}" type="parTrans" cxnId="{6308B78C-0B3C-9341-91D5-226A2371F95E}">
      <dgm:prSet/>
      <dgm:spPr/>
      <dgm:t>
        <a:bodyPr/>
        <a:lstStyle/>
        <a:p>
          <a:endParaRPr lang="en-GB"/>
        </a:p>
      </dgm:t>
    </dgm:pt>
    <dgm:pt modelId="{7230880B-04A1-974E-AC8F-F6DE40B5D110}" type="sibTrans" cxnId="{6308B78C-0B3C-9341-91D5-226A2371F95E}">
      <dgm:prSet/>
      <dgm:spPr/>
      <dgm:t>
        <a:bodyPr/>
        <a:lstStyle/>
        <a:p>
          <a:endParaRPr lang="en-GB"/>
        </a:p>
      </dgm:t>
    </dgm:pt>
    <dgm:pt modelId="{CFD3BBFA-FE6F-FD47-8CD8-39ED68EC99E0}">
      <dgm:prSet/>
      <dgm:spPr/>
      <dgm:t>
        <a:bodyPr/>
        <a:lstStyle/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Unvalidated features</a:t>
          </a:r>
        </a:p>
      </dgm:t>
    </dgm:pt>
    <dgm:pt modelId="{F7DBE49D-7AB3-D544-9501-750AFB8B16C1}" type="parTrans" cxnId="{9897AB39-5512-CF43-84D6-511989A5A847}">
      <dgm:prSet/>
      <dgm:spPr/>
      <dgm:t>
        <a:bodyPr/>
        <a:lstStyle/>
        <a:p>
          <a:endParaRPr lang="en-GB"/>
        </a:p>
      </dgm:t>
    </dgm:pt>
    <dgm:pt modelId="{8475317E-08B7-DF4B-8FDF-71E4D9AA77D4}" type="sibTrans" cxnId="{9897AB39-5512-CF43-84D6-511989A5A847}">
      <dgm:prSet/>
      <dgm:spPr/>
      <dgm:t>
        <a:bodyPr/>
        <a:lstStyle/>
        <a:p>
          <a:endParaRPr lang="en-GB"/>
        </a:p>
      </dgm:t>
    </dgm:pt>
    <dgm:pt modelId="{876567AF-888B-5F49-A265-83A542C44B6E}">
      <dgm:prSet/>
      <dgm:spPr/>
      <dgm:t>
        <a:bodyPr/>
        <a:lstStyle/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Epics/</a:t>
          </a:r>
          <a:r>
            <a:rPr lang="en-US" baseline="0" dirty="0"/>
            <a:t> </a:t>
          </a:r>
          <a:r>
            <a:rPr lang="en-US" dirty="0"/>
            <a:t>Features / stories in progress</a:t>
          </a:r>
        </a:p>
      </dgm:t>
    </dgm:pt>
    <dgm:pt modelId="{DE23A0DA-0517-344D-9EE4-077DA295D809}" type="parTrans" cxnId="{FB74B27E-287D-F940-9670-EFB5FEF9F128}">
      <dgm:prSet/>
      <dgm:spPr/>
      <dgm:t>
        <a:bodyPr/>
        <a:lstStyle/>
        <a:p>
          <a:endParaRPr lang="en-GB"/>
        </a:p>
      </dgm:t>
    </dgm:pt>
    <dgm:pt modelId="{06761B29-6022-2C43-97F3-A19995A4C769}" type="sibTrans" cxnId="{FB74B27E-287D-F940-9670-EFB5FEF9F128}">
      <dgm:prSet/>
      <dgm:spPr/>
      <dgm:t>
        <a:bodyPr/>
        <a:lstStyle/>
        <a:p>
          <a:endParaRPr lang="en-GB"/>
        </a:p>
      </dgm:t>
    </dgm:pt>
    <dgm:pt modelId="{4B4CCB71-5FD8-0248-AADC-EB2F066D9813}">
      <dgm:prSet/>
      <dgm:spPr/>
      <dgm:t>
        <a:bodyPr/>
        <a:lstStyle/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dirty="0"/>
            <a:t>Reduce age of bugs, code changes not in production</a:t>
          </a:r>
        </a:p>
      </dgm:t>
    </dgm:pt>
    <dgm:pt modelId="{EDD05F99-1930-0146-812E-DCCD7177E1AA}" type="parTrans" cxnId="{164DA642-09B2-6D42-AEF0-045F5B5EC0C2}">
      <dgm:prSet/>
      <dgm:spPr/>
      <dgm:t>
        <a:bodyPr/>
        <a:lstStyle/>
        <a:p>
          <a:endParaRPr lang="en-GB"/>
        </a:p>
      </dgm:t>
    </dgm:pt>
    <dgm:pt modelId="{EC0CC813-CB70-114E-890B-1BFF8A37CEA6}" type="sibTrans" cxnId="{164DA642-09B2-6D42-AEF0-045F5B5EC0C2}">
      <dgm:prSet/>
      <dgm:spPr/>
      <dgm:t>
        <a:bodyPr/>
        <a:lstStyle/>
        <a:p>
          <a:endParaRPr lang="en-GB"/>
        </a:p>
      </dgm:t>
    </dgm:pt>
    <dgm:pt modelId="{370463FC-19D2-FD48-B898-51344A5CF620}">
      <dgm:prSet/>
      <dgm:spPr/>
      <dgm:t>
        <a:bodyPr/>
        <a:lstStyle/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dirty="0"/>
        </a:p>
      </dgm:t>
    </dgm:pt>
    <dgm:pt modelId="{0C815B3C-1D82-9C43-A9B6-9A863A39B70A}" type="parTrans" cxnId="{F8BD631E-897F-C440-94E4-05C60D624374}">
      <dgm:prSet/>
      <dgm:spPr/>
      <dgm:t>
        <a:bodyPr/>
        <a:lstStyle/>
        <a:p>
          <a:endParaRPr lang="en-GB"/>
        </a:p>
      </dgm:t>
    </dgm:pt>
    <dgm:pt modelId="{6272A426-3FBB-8D4B-A9AD-A67107BA39A3}" type="sibTrans" cxnId="{F8BD631E-897F-C440-94E4-05C60D624374}">
      <dgm:prSet/>
      <dgm:spPr/>
      <dgm:t>
        <a:bodyPr/>
        <a:lstStyle/>
        <a:p>
          <a:endParaRPr lang="en-GB"/>
        </a:p>
      </dgm:t>
    </dgm:pt>
    <dgm:pt modelId="{2FBF43AD-CEEA-1944-9438-9F8B698B690F}" type="pres">
      <dgm:prSet presAssocID="{BC0BEC10-825F-DF4F-9EE8-98E76E27BF43}" presName="Name0" presStyleCnt="0">
        <dgm:presLayoutVars>
          <dgm:dir/>
          <dgm:animLvl val="lvl"/>
          <dgm:resizeHandles val="exact"/>
        </dgm:presLayoutVars>
      </dgm:prSet>
      <dgm:spPr/>
    </dgm:pt>
    <dgm:pt modelId="{C33E5372-3688-D748-B43F-9C5F517DE7A6}" type="pres">
      <dgm:prSet presAssocID="{42CF246D-4625-AE4C-BCC6-11382226ABF3}" presName="composite" presStyleCnt="0"/>
      <dgm:spPr/>
    </dgm:pt>
    <dgm:pt modelId="{7391A61F-2B1D-B845-9F07-07783787EA06}" type="pres">
      <dgm:prSet presAssocID="{42CF246D-4625-AE4C-BCC6-11382226ABF3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8EC50D7F-A2EB-3544-BDE6-8E67F6B0D876}" type="pres">
      <dgm:prSet presAssocID="{42CF246D-4625-AE4C-BCC6-11382226ABF3}" presName="desTx" presStyleLbl="alignAccFollowNode1" presStyleIdx="0" presStyleCnt="3">
        <dgm:presLayoutVars>
          <dgm:bulletEnabled val="1"/>
        </dgm:presLayoutVars>
      </dgm:prSet>
      <dgm:spPr/>
    </dgm:pt>
    <dgm:pt modelId="{1BD116BA-6CEC-694C-815F-271E5261BE46}" type="pres">
      <dgm:prSet presAssocID="{DBD7CFF4-AFAB-EF44-B1A0-C2AA01A581D1}" presName="space" presStyleCnt="0"/>
      <dgm:spPr/>
    </dgm:pt>
    <dgm:pt modelId="{AFDB6296-1CB4-7141-A13C-3B28E0FCD748}" type="pres">
      <dgm:prSet presAssocID="{DEC35395-B4FA-864F-960E-C989EE22DE60}" presName="composite" presStyleCnt="0"/>
      <dgm:spPr/>
    </dgm:pt>
    <dgm:pt modelId="{965E2060-0E59-1240-8827-223112F1A7B5}" type="pres">
      <dgm:prSet presAssocID="{DEC35395-B4FA-864F-960E-C989EE22DE60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26849252-5618-6B4F-959C-20165ABF1EB0}" type="pres">
      <dgm:prSet presAssocID="{DEC35395-B4FA-864F-960E-C989EE22DE60}" presName="desTx" presStyleLbl="alignAccFollowNode1" presStyleIdx="1" presStyleCnt="3">
        <dgm:presLayoutVars>
          <dgm:bulletEnabled val="1"/>
        </dgm:presLayoutVars>
      </dgm:prSet>
      <dgm:spPr/>
    </dgm:pt>
    <dgm:pt modelId="{0DA2FD10-36C2-CF44-8566-D7333670FCB8}" type="pres">
      <dgm:prSet presAssocID="{A2E6F956-8B84-5545-BFD4-E2CF04573685}" presName="space" presStyleCnt="0"/>
      <dgm:spPr/>
    </dgm:pt>
    <dgm:pt modelId="{533B8FCE-96D4-B845-992B-FB818FB491A3}" type="pres">
      <dgm:prSet presAssocID="{528D1783-A477-6940-95AC-3C7C000D1053}" presName="composite" presStyleCnt="0"/>
      <dgm:spPr/>
    </dgm:pt>
    <dgm:pt modelId="{5AB642B5-6EFE-EA45-9A2C-1019CF52851D}" type="pres">
      <dgm:prSet presAssocID="{528D1783-A477-6940-95AC-3C7C000D1053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9FB1B846-4B0F-364C-BE47-8AA059E12237}" type="pres">
      <dgm:prSet presAssocID="{528D1783-A477-6940-95AC-3C7C000D1053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CBB3F600-368B-AF44-9B84-9183ECFB796F}" type="presOf" srcId="{E87F1301-27AF-C94A-9E7A-F650A3277304}" destId="{26849252-5618-6B4F-959C-20165ABF1EB0}" srcOrd="0" destOrd="0" presId="urn:microsoft.com/office/officeart/2005/8/layout/hList1"/>
    <dgm:cxn modelId="{7162CE09-1C13-1F4B-9771-D30F53381017}" srcId="{528D1783-A477-6940-95AC-3C7C000D1053}" destId="{A88A995C-AE4F-9542-ACE6-6D718B827720}" srcOrd="1" destOrd="0" parTransId="{3DDC704E-15AE-FD4A-A28F-920E8E13E27A}" sibTransId="{C6199111-BA72-FC49-AC0F-491D568CF634}"/>
    <dgm:cxn modelId="{F673410B-7B83-7440-BA19-D0FE3760DE98}" type="presOf" srcId="{370463FC-19D2-FD48-B898-51344A5CF620}" destId="{8EC50D7F-A2EB-3544-BDE6-8E67F6B0D876}" srcOrd="0" destOrd="3" presId="urn:microsoft.com/office/officeart/2005/8/layout/hList1"/>
    <dgm:cxn modelId="{E8C0D513-E669-EC4D-84B9-AA62EF1F4400}" srcId="{BC0BEC10-825F-DF4F-9EE8-98E76E27BF43}" destId="{528D1783-A477-6940-95AC-3C7C000D1053}" srcOrd="2" destOrd="0" parTransId="{CAF86D51-C392-6A4D-8055-D265609951BD}" sibTransId="{24E0E9F7-265E-5E44-8D7E-C6C0055E405E}"/>
    <dgm:cxn modelId="{E94EFB1A-5D6E-654C-89A2-92AB6B982EA4}" srcId="{C2CA45FB-1D10-004F-8557-34D166E84A06}" destId="{65921258-DA15-F84B-8C24-17DC7AF9D90F}" srcOrd="6" destOrd="0" parTransId="{CEF7D376-CE57-FB43-B655-5EE8C40F46F7}" sibTransId="{79AD3AD5-0DA4-FD4F-95E5-BC6DB6886998}"/>
    <dgm:cxn modelId="{79AF351E-9075-D248-B7C6-77C4C3762228}" type="presOf" srcId="{CFD3BBFA-FE6F-FD47-8CD8-39ED68EC99E0}" destId="{8EC50D7F-A2EB-3544-BDE6-8E67F6B0D876}" srcOrd="0" destOrd="5" presId="urn:microsoft.com/office/officeart/2005/8/layout/hList1"/>
    <dgm:cxn modelId="{F8BD631E-897F-C440-94E4-05C60D624374}" srcId="{42CF246D-4625-AE4C-BCC6-11382226ABF3}" destId="{370463FC-19D2-FD48-B898-51344A5CF620}" srcOrd="3" destOrd="0" parTransId="{0C815B3C-1D82-9C43-A9B6-9A863A39B70A}" sibTransId="{6272A426-3FBB-8D4B-A9AD-A67107BA39A3}"/>
    <dgm:cxn modelId="{14F67D1F-94FC-7B44-B898-4D96DCBEA658}" type="presOf" srcId="{528D1783-A477-6940-95AC-3C7C000D1053}" destId="{5AB642B5-6EFE-EA45-9A2C-1019CF52851D}" srcOrd="0" destOrd="0" presId="urn:microsoft.com/office/officeart/2005/8/layout/hList1"/>
    <dgm:cxn modelId="{F9E67821-16A5-F84B-9333-6077E9C22AD6}" srcId="{42CF246D-4625-AE4C-BCC6-11382226ABF3}" destId="{0E1DA0A8-B8F5-A048-A6C4-1DF4CDF47341}" srcOrd="1" destOrd="0" parTransId="{076672DD-AE42-5740-9839-FB07A5A97446}" sibTransId="{4AC32F38-EB6A-764B-BDDF-ADEA7246FFD9}"/>
    <dgm:cxn modelId="{6A4A5422-403C-2443-844B-4CFE27F7E8F4}" srcId="{C2CA45FB-1D10-004F-8557-34D166E84A06}" destId="{23B1B50D-E793-B04A-B6C7-7478C51EC60F}" srcOrd="2" destOrd="0" parTransId="{688E4168-4E16-0A48-BEA9-140757270CEA}" sibTransId="{D29642B2-CA6D-5A4F-991F-E82DD620EE15}"/>
    <dgm:cxn modelId="{7B48C223-B118-D548-8015-EA4BA6AD66CE}" srcId="{FB490E9B-052B-164B-9B14-B36E4E86AFC1}" destId="{5B07A16D-2B63-B641-9495-85331B227650}" srcOrd="1" destOrd="0" parTransId="{83E767CD-4790-F84B-B2CE-83D85CEB2995}" sibTransId="{4703076E-4718-1542-B54D-3C53E130FF11}"/>
    <dgm:cxn modelId="{46263631-02D0-6E4C-9779-9FF9AC9067EE}" type="presOf" srcId="{FB490E9B-052B-164B-9B14-B36E4E86AFC1}" destId="{26849252-5618-6B4F-959C-20165ABF1EB0}" srcOrd="0" destOrd="8" presId="urn:microsoft.com/office/officeart/2005/8/layout/hList1"/>
    <dgm:cxn modelId="{C53D5C34-7984-574B-A6E5-4B1D86439D6B}" type="presOf" srcId="{4B4CCB71-5FD8-0248-AADC-EB2F066D9813}" destId="{8EC50D7F-A2EB-3544-BDE6-8E67F6B0D876}" srcOrd="0" destOrd="2" presId="urn:microsoft.com/office/officeart/2005/8/layout/hList1"/>
    <dgm:cxn modelId="{8C10C134-A5C7-2244-81CB-C576DCD2F15B}" type="presOf" srcId="{179CC08D-C894-424D-8D38-873D9EF3B742}" destId="{9FB1B846-4B0F-364C-BE47-8AA059E12237}" srcOrd="0" destOrd="2" presId="urn:microsoft.com/office/officeart/2005/8/layout/hList1"/>
    <dgm:cxn modelId="{C3E63239-988E-AC4E-98B2-49306E142AEF}" srcId="{E61FA7EC-9C3B-4A46-A744-65729A5AA51F}" destId="{3DF998DC-559A-EE43-B684-DC46B86F999E}" srcOrd="2" destOrd="0" parTransId="{2FE877C1-C181-9141-997B-A6A85ACF3A41}" sibTransId="{B62DBED3-BD1C-2E48-B7FC-78DE7F7F6D8B}"/>
    <dgm:cxn modelId="{9897AB39-5512-CF43-84D6-511989A5A847}" srcId="{C2CA45FB-1D10-004F-8557-34D166E84A06}" destId="{CFD3BBFA-FE6F-FD47-8CD8-39ED68EC99E0}" srcOrd="0" destOrd="0" parTransId="{F7DBE49D-7AB3-D544-9501-750AFB8B16C1}" sibTransId="{8475317E-08B7-DF4B-8FDF-71E4D9AA77D4}"/>
    <dgm:cxn modelId="{9192C03F-9A5A-7E46-90D4-663459E9D299}" srcId="{C2CA45FB-1D10-004F-8557-34D166E84A06}" destId="{98284B18-4C5F-2D41-BC30-BE107D31B992}" srcOrd="3" destOrd="0" parTransId="{61FA5639-25D6-5743-86B9-82ABB86A6481}" sibTransId="{A11A7C3D-6806-584A-B58E-BC42EEA4EBDB}"/>
    <dgm:cxn modelId="{E26E9340-C7D4-DA42-BDB9-D649AB0451D9}" srcId="{BC0BEC10-825F-DF4F-9EE8-98E76E27BF43}" destId="{42CF246D-4625-AE4C-BCC6-11382226ABF3}" srcOrd="0" destOrd="0" parTransId="{04C9CB11-BDE1-9B42-9EFE-B907EB02D3B7}" sibTransId="{DBD7CFF4-AFAB-EF44-B1A0-C2AA01A581D1}"/>
    <dgm:cxn modelId="{164DA642-09B2-6D42-AEF0-045F5B5EC0C2}" srcId="{42CF246D-4625-AE4C-BCC6-11382226ABF3}" destId="{4B4CCB71-5FD8-0248-AADC-EB2F066D9813}" srcOrd="2" destOrd="0" parTransId="{EDD05F99-1930-0146-812E-DCCD7177E1AA}" sibTransId="{EC0CC813-CB70-114E-890B-1BFF8A37CEA6}"/>
    <dgm:cxn modelId="{526B9845-70E5-5140-9377-0857E136F0BF}" type="presOf" srcId="{A511D5ED-604E-AC4B-81BB-45F1923FDAC6}" destId="{9FB1B846-4B0F-364C-BE47-8AA059E12237}" srcOrd="0" destOrd="6" presId="urn:microsoft.com/office/officeart/2005/8/layout/hList1"/>
    <dgm:cxn modelId="{CBA7E746-8DB2-1A4B-86A5-60F194D1245F}" srcId="{42CF246D-4625-AE4C-BCC6-11382226ABF3}" destId="{C2CA45FB-1D10-004F-8557-34D166E84A06}" srcOrd="4" destOrd="0" parTransId="{9D27B7BC-ECF8-B44C-9C41-DD534A9430EA}" sibTransId="{8C36D855-2B15-9143-9963-2832420A1592}"/>
    <dgm:cxn modelId="{9FE0AA48-D31C-3D46-AA0D-DBE7CBA19D96}" srcId="{DEC35395-B4FA-864F-960E-C989EE22DE60}" destId="{FB490E9B-052B-164B-9B14-B36E4E86AFC1}" srcOrd="4" destOrd="0" parTransId="{81C52714-A05B-2A49-B57F-22F193FD2B22}" sibTransId="{00D184C5-EA86-B444-A5EB-F55C1AD9CE46}"/>
    <dgm:cxn modelId="{78A94D4A-DBFF-1A48-8CF7-684D7E987C23}" srcId="{528D1783-A477-6940-95AC-3C7C000D1053}" destId="{179CC08D-C894-424D-8D38-873D9EF3B742}" srcOrd="2" destOrd="0" parTransId="{FBE7884C-66D9-F640-B783-A75986110672}" sibTransId="{43CD3DCF-1561-5749-B6DA-F128C9BD6178}"/>
    <dgm:cxn modelId="{CCCD634B-573F-FC49-8044-48BB64CA640B}" srcId="{DEC35395-B4FA-864F-960E-C989EE22DE60}" destId="{2C8DC2C9-6216-9344-8F07-220E42E6A426}" srcOrd="2" destOrd="0" parTransId="{5F4AD761-B339-CC40-B68B-D7A50DCD0133}" sibTransId="{9E577A10-B22B-164B-9C87-A9A45296C176}"/>
    <dgm:cxn modelId="{B4A0A44D-8F71-4A4E-9CA6-ACAB3789289C}" srcId="{E61FA7EC-9C3B-4A46-A744-65729A5AA51F}" destId="{C44F3AEB-10AE-C845-B34B-4C2BE1DBBE3B}" srcOrd="1" destOrd="0" parTransId="{3FB71EB8-5F4B-074E-810B-ED99E2CC3E8D}" sibTransId="{AAB0987B-15D8-D74E-A169-E0074D61C205}"/>
    <dgm:cxn modelId="{A1D06A50-5DF5-294F-9B02-CF5F1464A482}" type="presOf" srcId="{876567AF-888B-5F49-A265-83A542C44B6E}" destId="{8EC50D7F-A2EB-3544-BDE6-8E67F6B0D876}" srcOrd="0" destOrd="6" presId="urn:microsoft.com/office/officeart/2005/8/layout/hList1"/>
    <dgm:cxn modelId="{DAA80D56-7BA8-2D4A-BCF6-34205F672702}" type="presOf" srcId="{C06F8043-90EA-AA4E-84AF-81051888522D}" destId="{9FB1B846-4B0F-364C-BE47-8AA059E12237}" srcOrd="0" destOrd="3" presId="urn:microsoft.com/office/officeart/2005/8/layout/hList1"/>
    <dgm:cxn modelId="{3032A35B-AD0B-8C4B-A30D-FABFDFFCC8F2}" type="presOf" srcId="{5B07A16D-2B63-B641-9495-85331B227650}" destId="{26849252-5618-6B4F-959C-20165ABF1EB0}" srcOrd="0" destOrd="10" presId="urn:microsoft.com/office/officeart/2005/8/layout/hList1"/>
    <dgm:cxn modelId="{BEDF5D5D-9C9B-E943-84D7-510308C47ECD}" srcId="{E61FA7EC-9C3B-4A46-A744-65729A5AA51F}" destId="{A2C98410-9D44-2E48-AF1A-89016B8426C0}" srcOrd="0" destOrd="0" parTransId="{7B5D0559-3A98-DC4E-9ED5-A07F0FD9CF47}" sibTransId="{D14623E6-F519-D54A-AB1C-1AA18FD1EE56}"/>
    <dgm:cxn modelId="{1E49E66B-247C-7E42-87F3-F2AA0BBE3417}" type="presOf" srcId="{2C8DC2C9-6216-9344-8F07-220E42E6A426}" destId="{26849252-5618-6B4F-959C-20165ABF1EB0}" srcOrd="0" destOrd="6" presId="urn:microsoft.com/office/officeart/2005/8/layout/hList1"/>
    <dgm:cxn modelId="{5884946D-FFE2-B145-B256-934D36B0ADFF}" srcId="{E61FA7EC-9C3B-4A46-A744-65729A5AA51F}" destId="{510E05F4-7E92-AF43-A65A-6A72C56BC9B7}" srcOrd="3" destOrd="0" parTransId="{941A89F1-47E3-2B49-AD30-8A3F8BACF8CC}" sibTransId="{B28CA744-C5B6-E045-BFC5-9EC62873A444}"/>
    <dgm:cxn modelId="{02FAA67E-11AB-E84A-90C2-7BCD57B97D26}" srcId="{528D1783-A477-6940-95AC-3C7C000D1053}" destId="{C06F8043-90EA-AA4E-84AF-81051888522D}" srcOrd="3" destOrd="0" parTransId="{18D167BB-3E24-2A46-8301-9F926D78BD40}" sibTransId="{14D129B5-A7D8-DB42-BEFC-A5A546A6953D}"/>
    <dgm:cxn modelId="{FB74B27E-287D-F940-9670-EFB5FEF9F128}" srcId="{C2CA45FB-1D10-004F-8557-34D166E84A06}" destId="{876567AF-888B-5F49-A265-83A542C44B6E}" srcOrd="1" destOrd="0" parTransId="{DE23A0DA-0517-344D-9EE4-077DA295D809}" sibTransId="{06761B29-6022-2C43-97F3-A19995A4C769}"/>
    <dgm:cxn modelId="{80540E80-592F-CF44-A03C-46123D323005}" type="presOf" srcId="{3DF998DC-559A-EE43-B684-DC46B86F999E}" destId="{26849252-5618-6B4F-959C-20165ABF1EB0}" srcOrd="0" destOrd="4" presId="urn:microsoft.com/office/officeart/2005/8/layout/hList1"/>
    <dgm:cxn modelId="{55E0CF8B-FA2E-CA47-A437-8BFDC73636AC}" type="presOf" srcId="{C44F3AEB-10AE-C845-B34B-4C2BE1DBBE3B}" destId="{26849252-5618-6B4F-959C-20165ABF1EB0}" srcOrd="0" destOrd="3" presId="urn:microsoft.com/office/officeart/2005/8/layout/hList1"/>
    <dgm:cxn modelId="{6308B78C-0B3C-9341-91D5-226A2371F95E}" srcId="{DEC35395-B4FA-864F-960E-C989EE22DE60}" destId="{0130F203-6FAF-1746-B09A-D9DCE9FB3E55}" srcOrd="3" destOrd="0" parTransId="{366465F5-F388-C04F-A9D6-9887C3144563}" sibTransId="{7230880B-04A1-974E-AC8F-F6DE40B5D110}"/>
    <dgm:cxn modelId="{516E718D-1B2D-8D4F-A4EA-D45CE6057C60}" type="presOf" srcId="{42CF246D-4625-AE4C-BCC6-11382226ABF3}" destId="{7391A61F-2B1D-B845-9F07-07783787EA06}" srcOrd="0" destOrd="0" presId="urn:microsoft.com/office/officeart/2005/8/layout/hList1"/>
    <dgm:cxn modelId="{E308358F-BEE7-0E47-B26D-51DEA58BADED}" type="presOf" srcId="{98284B18-4C5F-2D41-BC30-BE107D31B992}" destId="{8EC50D7F-A2EB-3544-BDE6-8E67F6B0D876}" srcOrd="0" destOrd="8" presId="urn:microsoft.com/office/officeart/2005/8/layout/hList1"/>
    <dgm:cxn modelId="{27BA6F8F-5589-544B-A0DC-38D0C6B1216D}" srcId="{DEC35395-B4FA-864F-960E-C989EE22DE60}" destId="{E87F1301-27AF-C94A-9E7A-F650A3277304}" srcOrd="0" destOrd="0" parTransId="{42F92A6C-989F-E24D-AA12-65EF679DF05E}" sibTransId="{BC370506-62EF-A74C-A48B-83732EA32787}"/>
    <dgm:cxn modelId="{6DCD4990-1358-2C4C-8A95-D30234036457}" type="presOf" srcId="{B5E94E30-1F96-C046-A0DC-B3BF73633846}" destId="{9FB1B846-4B0F-364C-BE47-8AA059E12237}" srcOrd="0" destOrd="0" presId="urn:microsoft.com/office/officeart/2005/8/layout/hList1"/>
    <dgm:cxn modelId="{9DAC6E90-30E3-AC4C-8027-61EBB528C254}" type="presOf" srcId="{2903411A-11AB-A940-AF48-ADCD99D1DC14}" destId="{9FB1B846-4B0F-364C-BE47-8AA059E12237}" srcOrd="0" destOrd="5" presId="urn:microsoft.com/office/officeart/2005/8/layout/hList1"/>
    <dgm:cxn modelId="{E8658792-DBC7-A34B-AF4F-69C7AD4E3B8C}" srcId="{42CF246D-4625-AE4C-BCC6-11382226ABF3}" destId="{258588BC-259D-0C42-B012-850B8A1992D8}" srcOrd="0" destOrd="0" parTransId="{D50D9496-72CA-FA48-B6B2-25B7B47D855A}" sibTransId="{45D8B6E6-D12D-A04C-8A5D-9689BC7BBE64}"/>
    <dgm:cxn modelId="{3610CF93-8EFA-D74B-B8F1-8288847F8588}" type="presOf" srcId="{C2CA45FB-1D10-004F-8557-34D166E84A06}" destId="{8EC50D7F-A2EB-3544-BDE6-8E67F6B0D876}" srcOrd="0" destOrd="4" presId="urn:microsoft.com/office/officeart/2005/8/layout/hList1"/>
    <dgm:cxn modelId="{9C912B94-27FB-6941-8C10-8F8272F31667}" type="presOf" srcId="{DEC35395-B4FA-864F-960E-C989EE22DE60}" destId="{965E2060-0E59-1240-8827-223112F1A7B5}" srcOrd="0" destOrd="0" presId="urn:microsoft.com/office/officeart/2005/8/layout/hList1"/>
    <dgm:cxn modelId="{42D01098-B10C-0141-BBB6-49C1FCEEACE1}" type="presOf" srcId="{0E1DA0A8-B8F5-A048-A6C4-1DF4CDF47341}" destId="{8EC50D7F-A2EB-3544-BDE6-8E67F6B0D876}" srcOrd="0" destOrd="1" presId="urn:microsoft.com/office/officeart/2005/8/layout/hList1"/>
    <dgm:cxn modelId="{841B45A0-0C51-2740-9EF7-0D0464748D77}" type="presOf" srcId="{BC0BEC10-825F-DF4F-9EE8-98E76E27BF43}" destId="{2FBF43AD-CEEA-1944-9438-9F8B698B690F}" srcOrd="0" destOrd="0" presId="urn:microsoft.com/office/officeart/2005/8/layout/hList1"/>
    <dgm:cxn modelId="{E9A53CA8-5F83-F147-8964-A8D28842E8EC}" type="presOf" srcId="{A2C98410-9D44-2E48-AF1A-89016B8426C0}" destId="{26849252-5618-6B4F-959C-20165ABF1EB0}" srcOrd="0" destOrd="2" presId="urn:microsoft.com/office/officeart/2005/8/layout/hList1"/>
    <dgm:cxn modelId="{AF0AA7A9-8182-1C45-8350-BA473BAFB729}" srcId="{C2CA45FB-1D10-004F-8557-34D166E84A06}" destId="{4E4379B4-34E1-024C-A21A-811C233BA772}" srcOrd="4" destOrd="0" parTransId="{395C5DBF-F2A4-BA42-85AA-AE308C718699}" sibTransId="{03236CC5-4C36-A745-98FF-17932BA89F04}"/>
    <dgm:cxn modelId="{48BBECAC-7655-2A42-B64B-50A898AC83B9}" srcId="{528D1783-A477-6940-95AC-3C7C000D1053}" destId="{2903411A-11AB-A940-AF48-ADCD99D1DC14}" srcOrd="5" destOrd="0" parTransId="{199B0F6C-8EAA-8D45-A064-918FAFF7085F}" sibTransId="{DF8B1F2C-C57C-3B4A-8EB1-D44BC0007A4D}"/>
    <dgm:cxn modelId="{E9A027B3-8BA1-544A-91C8-53B6CF34B01D}" type="presOf" srcId="{E61FA7EC-9C3B-4A46-A744-65729A5AA51F}" destId="{26849252-5618-6B4F-959C-20165ABF1EB0}" srcOrd="0" destOrd="1" presId="urn:microsoft.com/office/officeart/2005/8/layout/hList1"/>
    <dgm:cxn modelId="{B041CAB4-7C94-A149-875D-24024D85A755}" srcId="{528D1783-A477-6940-95AC-3C7C000D1053}" destId="{FE4D2400-192F-D946-B52C-68F710ED374C}" srcOrd="4" destOrd="0" parTransId="{5F6A19EF-ED68-3A44-818B-B6AF343BCF83}" sibTransId="{20799F90-8C93-6E47-89C7-4B5C51F4DC25}"/>
    <dgm:cxn modelId="{EEA91AB5-85B7-CF4F-A757-CE3229905FE9}" type="presOf" srcId="{FE4D2400-192F-D946-B52C-68F710ED374C}" destId="{9FB1B846-4B0F-364C-BE47-8AA059E12237}" srcOrd="0" destOrd="4" presId="urn:microsoft.com/office/officeart/2005/8/layout/hList1"/>
    <dgm:cxn modelId="{E5BA7DB5-56B3-6341-BEF8-61C4E1D5F9DC}" type="presOf" srcId="{0130F203-6FAF-1746-B09A-D9DCE9FB3E55}" destId="{26849252-5618-6B4F-959C-20165ABF1EB0}" srcOrd="0" destOrd="7" presId="urn:microsoft.com/office/officeart/2005/8/layout/hList1"/>
    <dgm:cxn modelId="{C94728BA-0079-1949-AAF9-C66A5D7D5446}" srcId="{FB490E9B-052B-164B-9B14-B36E4E86AFC1}" destId="{FC33BE5A-580C-E849-8765-2E651BE8D5E2}" srcOrd="0" destOrd="0" parTransId="{451410DC-FB0D-E441-A67C-1197C1A71385}" sibTransId="{D00C1632-9BF1-4D43-ACA3-2123A3A68598}"/>
    <dgm:cxn modelId="{37B833C7-8A02-0248-9FF8-AAE5C2B4F8BE}" srcId="{528D1783-A477-6940-95AC-3C7C000D1053}" destId="{B5E94E30-1F96-C046-A0DC-B3BF73633846}" srcOrd="0" destOrd="0" parTransId="{BF44F9F1-15BD-1848-847A-D08D15E3E4A9}" sibTransId="{EE5EBFFD-80C6-8049-92CA-C9EFCCF0C362}"/>
    <dgm:cxn modelId="{CDD0F9CB-FE4B-824E-92C0-3819378E1A9D}" type="presOf" srcId="{510E05F4-7E92-AF43-A65A-6A72C56BC9B7}" destId="{26849252-5618-6B4F-959C-20165ABF1EB0}" srcOrd="0" destOrd="5" presId="urn:microsoft.com/office/officeart/2005/8/layout/hList1"/>
    <dgm:cxn modelId="{41D003CD-CA81-B046-B1D9-16E19FEA2D6F}" srcId="{528D1783-A477-6940-95AC-3C7C000D1053}" destId="{A511D5ED-604E-AC4B-81BB-45F1923FDAC6}" srcOrd="6" destOrd="0" parTransId="{713D0AEE-E438-3D4B-8F13-979627585FFB}" sibTransId="{1CA37F3D-4A9C-D74F-8EDC-C17C065FE083}"/>
    <dgm:cxn modelId="{32D0F3CD-A3A3-874D-8C04-4F589674ED5C}" type="presOf" srcId="{23B1B50D-E793-B04A-B6C7-7478C51EC60F}" destId="{8EC50D7F-A2EB-3544-BDE6-8E67F6B0D876}" srcOrd="0" destOrd="7" presId="urn:microsoft.com/office/officeart/2005/8/layout/hList1"/>
    <dgm:cxn modelId="{03DC11D4-B80E-384B-A7A3-9E90B390F19D}" type="presOf" srcId="{88C27B56-801D-9C43-90FC-42BE427CB43A}" destId="{8EC50D7F-A2EB-3544-BDE6-8E67F6B0D876}" srcOrd="0" destOrd="10" presId="urn:microsoft.com/office/officeart/2005/8/layout/hList1"/>
    <dgm:cxn modelId="{ACE1C6DC-BBAD-1C44-AEB6-D0DF76AB0B93}" type="presOf" srcId="{65921258-DA15-F84B-8C24-17DC7AF9D90F}" destId="{8EC50D7F-A2EB-3544-BDE6-8E67F6B0D876}" srcOrd="0" destOrd="11" presId="urn:microsoft.com/office/officeart/2005/8/layout/hList1"/>
    <dgm:cxn modelId="{32D371E6-791A-FB49-B52A-C60CDC952DC2}" type="presOf" srcId="{4E4379B4-34E1-024C-A21A-811C233BA772}" destId="{8EC50D7F-A2EB-3544-BDE6-8E67F6B0D876}" srcOrd="0" destOrd="9" presId="urn:microsoft.com/office/officeart/2005/8/layout/hList1"/>
    <dgm:cxn modelId="{FAC91CE8-46E2-9E45-985D-FD5FD8972960}" type="presOf" srcId="{258588BC-259D-0C42-B012-850B8A1992D8}" destId="{8EC50D7F-A2EB-3544-BDE6-8E67F6B0D876}" srcOrd="0" destOrd="0" presId="urn:microsoft.com/office/officeart/2005/8/layout/hList1"/>
    <dgm:cxn modelId="{671D48EA-5CB0-2140-8D71-4788DDBC1E5D}" type="presOf" srcId="{FC33BE5A-580C-E849-8765-2E651BE8D5E2}" destId="{26849252-5618-6B4F-959C-20165ABF1EB0}" srcOrd="0" destOrd="9" presId="urn:microsoft.com/office/officeart/2005/8/layout/hList1"/>
    <dgm:cxn modelId="{03BCF7F0-DB30-0E4D-8201-CC8993B8C809}" srcId="{DEC35395-B4FA-864F-960E-C989EE22DE60}" destId="{E61FA7EC-9C3B-4A46-A744-65729A5AA51F}" srcOrd="1" destOrd="0" parTransId="{A75F6F1F-A408-5440-A1D6-52FE18E17E82}" sibTransId="{13F693DD-9825-A940-A991-76D6EC902BA5}"/>
    <dgm:cxn modelId="{282D9AF8-522A-C649-98BE-1950BD983877}" srcId="{C2CA45FB-1D10-004F-8557-34D166E84A06}" destId="{88C27B56-801D-9C43-90FC-42BE427CB43A}" srcOrd="5" destOrd="0" parTransId="{0C8BA46E-8EF3-CC49-AB13-B593D65F4DA7}" sibTransId="{377B745A-C9F2-2F4F-9DB7-12BA2C665140}"/>
    <dgm:cxn modelId="{04F84CF9-2E2C-054D-80CD-8E801AE68F87}" type="presOf" srcId="{A88A995C-AE4F-9542-ACE6-6D718B827720}" destId="{9FB1B846-4B0F-364C-BE47-8AA059E12237}" srcOrd="0" destOrd="1" presId="urn:microsoft.com/office/officeart/2005/8/layout/hList1"/>
    <dgm:cxn modelId="{50BCA5FF-7136-5D44-8608-4273C0B06E07}" srcId="{BC0BEC10-825F-DF4F-9EE8-98E76E27BF43}" destId="{DEC35395-B4FA-864F-960E-C989EE22DE60}" srcOrd="1" destOrd="0" parTransId="{637EC1B7-9D80-4F4F-87D5-3432FB34373E}" sibTransId="{A2E6F956-8B84-5545-BFD4-E2CF04573685}"/>
    <dgm:cxn modelId="{BE86780D-1D38-FE45-8746-98599029190B}" type="presParOf" srcId="{2FBF43AD-CEEA-1944-9438-9F8B698B690F}" destId="{C33E5372-3688-D748-B43F-9C5F517DE7A6}" srcOrd="0" destOrd="0" presId="urn:microsoft.com/office/officeart/2005/8/layout/hList1"/>
    <dgm:cxn modelId="{59B16741-C4B3-FB4F-8389-57AF3DA2199F}" type="presParOf" srcId="{C33E5372-3688-D748-B43F-9C5F517DE7A6}" destId="{7391A61F-2B1D-B845-9F07-07783787EA06}" srcOrd="0" destOrd="0" presId="urn:microsoft.com/office/officeart/2005/8/layout/hList1"/>
    <dgm:cxn modelId="{015FB4FA-6E0D-884D-9187-EDE38C5A30F9}" type="presParOf" srcId="{C33E5372-3688-D748-B43F-9C5F517DE7A6}" destId="{8EC50D7F-A2EB-3544-BDE6-8E67F6B0D876}" srcOrd="1" destOrd="0" presId="urn:microsoft.com/office/officeart/2005/8/layout/hList1"/>
    <dgm:cxn modelId="{00DD2AEB-A389-5B4D-B3D2-E2307110B263}" type="presParOf" srcId="{2FBF43AD-CEEA-1944-9438-9F8B698B690F}" destId="{1BD116BA-6CEC-694C-815F-271E5261BE46}" srcOrd="1" destOrd="0" presId="urn:microsoft.com/office/officeart/2005/8/layout/hList1"/>
    <dgm:cxn modelId="{2816A824-2BFC-B046-A162-D72044523ED8}" type="presParOf" srcId="{2FBF43AD-CEEA-1944-9438-9F8B698B690F}" destId="{AFDB6296-1CB4-7141-A13C-3B28E0FCD748}" srcOrd="2" destOrd="0" presId="urn:microsoft.com/office/officeart/2005/8/layout/hList1"/>
    <dgm:cxn modelId="{28760D08-B7A0-674B-B81F-D203E9F2CA67}" type="presParOf" srcId="{AFDB6296-1CB4-7141-A13C-3B28E0FCD748}" destId="{965E2060-0E59-1240-8827-223112F1A7B5}" srcOrd="0" destOrd="0" presId="urn:microsoft.com/office/officeart/2005/8/layout/hList1"/>
    <dgm:cxn modelId="{1F6D3D35-700C-D84D-8AFC-75302CA1EDD8}" type="presParOf" srcId="{AFDB6296-1CB4-7141-A13C-3B28E0FCD748}" destId="{26849252-5618-6B4F-959C-20165ABF1EB0}" srcOrd="1" destOrd="0" presId="urn:microsoft.com/office/officeart/2005/8/layout/hList1"/>
    <dgm:cxn modelId="{88410FA8-6207-B040-9B4A-4A491C573B95}" type="presParOf" srcId="{2FBF43AD-CEEA-1944-9438-9F8B698B690F}" destId="{0DA2FD10-36C2-CF44-8566-D7333670FCB8}" srcOrd="3" destOrd="0" presId="urn:microsoft.com/office/officeart/2005/8/layout/hList1"/>
    <dgm:cxn modelId="{0CB525B9-0706-2049-A6F5-624FF80530FA}" type="presParOf" srcId="{2FBF43AD-CEEA-1944-9438-9F8B698B690F}" destId="{533B8FCE-96D4-B845-992B-FB818FB491A3}" srcOrd="4" destOrd="0" presId="urn:microsoft.com/office/officeart/2005/8/layout/hList1"/>
    <dgm:cxn modelId="{D5099BCC-0829-5840-A2F3-3F54C0C946B2}" type="presParOf" srcId="{533B8FCE-96D4-B845-992B-FB818FB491A3}" destId="{5AB642B5-6EFE-EA45-9A2C-1019CF52851D}" srcOrd="0" destOrd="0" presId="urn:microsoft.com/office/officeart/2005/8/layout/hList1"/>
    <dgm:cxn modelId="{BA25FE09-F08C-8F43-8FA6-9B8019D03007}" type="presParOf" srcId="{533B8FCE-96D4-B845-992B-FB818FB491A3}" destId="{9FB1B846-4B0F-364C-BE47-8AA059E12237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CD2B849-4629-5E4A-995C-009537E760FA}" type="doc">
      <dgm:prSet loTypeId="urn:microsoft.com/office/officeart/2005/8/layout/radial4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7114EE1-2E4F-BE48-AE57-FF8349140A11}">
      <dgm:prSet custT="1"/>
      <dgm:spPr/>
      <dgm:t>
        <a:bodyPr/>
        <a:lstStyle/>
        <a:p>
          <a:r>
            <a:rPr lang="fi-FI" sz="1400" dirty="0" err="1"/>
            <a:t>Goal</a:t>
          </a:r>
          <a:r>
            <a:rPr lang="fi-FI" sz="1400" dirty="0"/>
            <a:t> </a:t>
          </a:r>
          <a:r>
            <a:rPr lang="fi-FI" sz="1400" dirty="0" err="1"/>
            <a:t>dimensions</a:t>
          </a:r>
          <a:endParaRPr lang="fi-FI" sz="1400" dirty="0"/>
        </a:p>
      </dgm:t>
    </dgm:pt>
    <dgm:pt modelId="{3FF67B46-4522-E14A-8638-C572D24086F0}" type="parTrans" cxnId="{F84906D0-9AAB-1B44-89CF-A064102412B1}">
      <dgm:prSet/>
      <dgm:spPr/>
      <dgm:t>
        <a:bodyPr/>
        <a:lstStyle/>
        <a:p>
          <a:endParaRPr lang="en-US"/>
        </a:p>
      </dgm:t>
    </dgm:pt>
    <dgm:pt modelId="{AC7A3C24-BE3C-5246-8A04-119DF851928C}" type="sibTrans" cxnId="{F84906D0-9AAB-1B44-89CF-A064102412B1}">
      <dgm:prSet/>
      <dgm:spPr/>
      <dgm:t>
        <a:bodyPr/>
        <a:lstStyle/>
        <a:p>
          <a:endParaRPr lang="en-US"/>
        </a:p>
      </dgm:t>
    </dgm:pt>
    <dgm:pt modelId="{3403349F-E7D7-B147-903D-F800DF7DFCCC}">
      <dgm:prSet custT="1"/>
      <dgm:spPr/>
      <dgm:t>
        <a:bodyPr/>
        <a:lstStyle/>
        <a:p>
          <a:r>
            <a:rPr lang="fi-FI" sz="1400" dirty="0" err="1"/>
            <a:t>Speed</a:t>
          </a:r>
          <a:r>
            <a:rPr lang="fi-FI" sz="1400" dirty="0"/>
            <a:t> (</a:t>
          </a:r>
          <a:r>
            <a:rPr lang="fi-FI" sz="1400" dirty="0" err="1"/>
            <a:t>automation</a:t>
          </a:r>
          <a:r>
            <a:rPr lang="fi-FI" sz="1400" dirty="0"/>
            <a:t>)</a:t>
          </a:r>
        </a:p>
      </dgm:t>
    </dgm:pt>
    <dgm:pt modelId="{52374DE0-101F-9842-9818-D45159530740}" type="parTrans" cxnId="{E917EE70-5DD8-6447-8956-F888F689FDB6}">
      <dgm:prSet/>
      <dgm:spPr/>
      <dgm:t>
        <a:bodyPr/>
        <a:lstStyle/>
        <a:p>
          <a:endParaRPr lang="en-US"/>
        </a:p>
      </dgm:t>
    </dgm:pt>
    <dgm:pt modelId="{B0F1B584-903D-CD47-ACB4-38C2D07B4034}" type="sibTrans" cxnId="{E917EE70-5DD8-6447-8956-F888F689FDB6}">
      <dgm:prSet/>
      <dgm:spPr/>
      <dgm:t>
        <a:bodyPr/>
        <a:lstStyle/>
        <a:p>
          <a:endParaRPr lang="en-US"/>
        </a:p>
      </dgm:t>
    </dgm:pt>
    <dgm:pt modelId="{C65FF2F2-9296-E346-9B21-EE3CC84F8CCC}">
      <dgm:prSet custT="1"/>
      <dgm:spPr/>
      <dgm:t>
        <a:bodyPr/>
        <a:lstStyle/>
        <a:p>
          <a:r>
            <a:rPr lang="fi-FI" sz="1400" dirty="0" err="1"/>
            <a:t>Predictability</a:t>
          </a:r>
          <a:r>
            <a:rPr lang="fi-FI" sz="1400" dirty="0"/>
            <a:t> of </a:t>
          </a:r>
          <a:r>
            <a:rPr lang="fi-FI" sz="1400" dirty="0" err="1"/>
            <a:t>throughput</a:t>
          </a:r>
          <a:endParaRPr lang="fi-FI" sz="1400" dirty="0"/>
        </a:p>
      </dgm:t>
    </dgm:pt>
    <dgm:pt modelId="{3C15EB39-434B-B549-A222-54D3C2A70494}" type="parTrans" cxnId="{31181A8D-3779-6C46-B40D-7F19DE4E1390}">
      <dgm:prSet/>
      <dgm:spPr/>
      <dgm:t>
        <a:bodyPr/>
        <a:lstStyle/>
        <a:p>
          <a:endParaRPr lang="en-US"/>
        </a:p>
      </dgm:t>
    </dgm:pt>
    <dgm:pt modelId="{95BE2872-6286-D040-8962-088136530766}" type="sibTrans" cxnId="{31181A8D-3779-6C46-B40D-7F19DE4E1390}">
      <dgm:prSet/>
      <dgm:spPr/>
      <dgm:t>
        <a:bodyPr/>
        <a:lstStyle/>
        <a:p>
          <a:endParaRPr lang="en-US"/>
        </a:p>
      </dgm:t>
    </dgm:pt>
    <dgm:pt modelId="{9318AF70-B3C7-E24D-8AD8-9B5F381E38EA}">
      <dgm:prSet custT="1"/>
      <dgm:spPr/>
      <dgm:t>
        <a:bodyPr/>
        <a:lstStyle/>
        <a:p>
          <a:r>
            <a:rPr lang="fi-FI" sz="1400" dirty="0" err="1"/>
            <a:t>Quality</a:t>
          </a:r>
          <a:r>
            <a:rPr lang="fi-FI" sz="1400" dirty="0"/>
            <a:t> </a:t>
          </a:r>
          <a:r>
            <a:rPr lang="fi-FI" sz="1400" dirty="0" err="1"/>
            <a:t>Debt</a:t>
          </a:r>
          <a:r>
            <a:rPr lang="fi-FI" sz="1400" dirty="0"/>
            <a:t> </a:t>
          </a:r>
        </a:p>
      </dgm:t>
    </dgm:pt>
    <dgm:pt modelId="{B7BA2AF5-7EAC-214E-A23E-C0D8F784A70B}" type="parTrans" cxnId="{A620AA7F-E40B-624E-B17F-AF6CC62FBE4B}">
      <dgm:prSet/>
      <dgm:spPr/>
      <dgm:t>
        <a:bodyPr/>
        <a:lstStyle/>
        <a:p>
          <a:endParaRPr lang="en-US"/>
        </a:p>
      </dgm:t>
    </dgm:pt>
    <dgm:pt modelId="{20D76BD7-2203-4C4F-9C9B-04B995162571}" type="sibTrans" cxnId="{A620AA7F-E40B-624E-B17F-AF6CC62FBE4B}">
      <dgm:prSet/>
      <dgm:spPr/>
      <dgm:t>
        <a:bodyPr/>
        <a:lstStyle/>
        <a:p>
          <a:endParaRPr lang="en-US"/>
        </a:p>
      </dgm:t>
    </dgm:pt>
    <dgm:pt modelId="{80AE7B01-E953-7E44-AF22-91AE1641F968}">
      <dgm:prSet custT="1"/>
      <dgm:spPr/>
      <dgm:t>
        <a:bodyPr/>
        <a:lstStyle/>
        <a:p>
          <a:r>
            <a:rPr lang="fi-FI" sz="1400" dirty="0" err="1"/>
            <a:t>Visibility</a:t>
          </a:r>
          <a:endParaRPr lang="fi-FI" sz="1400" dirty="0"/>
        </a:p>
      </dgm:t>
    </dgm:pt>
    <dgm:pt modelId="{DC30566C-4031-6F4E-B74C-B4898C3480D0}" type="parTrans" cxnId="{153CFBEF-1B8F-674F-8A95-738B39995ACA}">
      <dgm:prSet/>
      <dgm:spPr/>
      <dgm:t>
        <a:bodyPr/>
        <a:lstStyle/>
        <a:p>
          <a:endParaRPr lang="en-US"/>
        </a:p>
      </dgm:t>
    </dgm:pt>
    <dgm:pt modelId="{18787789-B293-744D-9943-48B1A84B3BA7}" type="sibTrans" cxnId="{153CFBEF-1B8F-674F-8A95-738B39995ACA}">
      <dgm:prSet/>
      <dgm:spPr/>
      <dgm:t>
        <a:bodyPr/>
        <a:lstStyle/>
        <a:p>
          <a:endParaRPr lang="en-US"/>
        </a:p>
      </dgm:t>
    </dgm:pt>
    <dgm:pt modelId="{DFC2CFEC-6F45-D347-AF2A-4159A75EA64A}" type="pres">
      <dgm:prSet presAssocID="{6CD2B849-4629-5E4A-995C-009537E760FA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F7E536B4-C006-8348-8DC4-6BED60AF1078}" type="pres">
      <dgm:prSet presAssocID="{97114EE1-2E4F-BE48-AE57-FF8349140A11}" presName="centerShape" presStyleLbl="node0" presStyleIdx="0" presStyleCnt="1" custScaleX="123671" custScaleY="110655" custLinFactNeighborX="319" custLinFactNeighborY="580"/>
      <dgm:spPr/>
    </dgm:pt>
    <dgm:pt modelId="{0D0FB1DF-9B68-0F4A-BBE7-CA6D97B057CF}" type="pres">
      <dgm:prSet presAssocID="{52374DE0-101F-9842-9818-D45159530740}" presName="parTrans" presStyleLbl="bgSibTrans2D1" presStyleIdx="0" presStyleCnt="4"/>
      <dgm:spPr/>
    </dgm:pt>
    <dgm:pt modelId="{BD2E6ECD-1699-3641-B4F6-C2AB1C9C6A20}" type="pres">
      <dgm:prSet presAssocID="{3403349F-E7D7-B147-903D-F800DF7DFCCC}" presName="node" presStyleLbl="node1" presStyleIdx="0" presStyleCnt="4">
        <dgm:presLayoutVars>
          <dgm:bulletEnabled val="1"/>
        </dgm:presLayoutVars>
      </dgm:prSet>
      <dgm:spPr/>
    </dgm:pt>
    <dgm:pt modelId="{A0EACFA0-5B7D-0E47-B591-F524D4DC0DBD}" type="pres">
      <dgm:prSet presAssocID="{3C15EB39-434B-B549-A222-54D3C2A70494}" presName="parTrans" presStyleLbl="bgSibTrans2D1" presStyleIdx="1" presStyleCnt="4"/>
      <dgm:spPr/>
    </dgm:pt>
    <dgm:pt modelId="{2CF5785E-8B0C-8C49-A882-DFDDE0E01F54}" type="pres">
      <dgm:prSet presAssocID="{C65FF2F2-9296-E346-9B21-EE3CC84F8CCC}" presName="node" presStyleLbl="node1" presStyleIdx="1" presStyleCnt="4">
        <dgm:presLayoutVars>
          <dgm:bulletEnabled val="1"/>
        </dgm:presLayoutVars>
      </dgm:prSet>
      <dgm:spPr/>
    </dgm:pt>
    <dgm:pt modelId="{7272E9E1-35F9-214E-92A5-4452D94A04E4}" type="pres">
      <dgm:prSet presAssocID="{B7BA2AF5-7EAC-214E-A23E-C0D8F784A70B}" presName="parTrans" presStyleLbl="bgSibTrans2D1" presStyleIdx="2" presStyleCnt="4"/>
      <dgm:spPr/>
    </dgm:pt>
    <dgm:pt modelId="{D3B1883A-EE13-2749-AAF0-B3AC5D9413A7}" type="pres">
      <dgm:prSet presAssocID="{9318AF70-B3C7-E24D-8AD8-9B5F381E38EA}" presName="node" presStyleLbl="node1" presStyleIdx="2" presStyleCnt="4">
        <dgm:presLayoutVars>
          <dgm:bulletEnabled val="1"/>
        </dgm:presLayoutVars>
      </dgm:prSet>
      <dgm:spPr/>
    </dgm:pt>
    <dgm:pt modelId="{0C80C1BD-3D9A-C843-B2B3-ABEDE82D8759}" type="pres">
      <dgm:prSet presAssocID="{DC30566C-4031-6F4E-B74C-B4898C3480D0}" presName="parTrans" presStyleLbl="bgSibTrans2D1" presStyleIdx="3" presStyleCnt="4"/>
      <dgm:spPr/>
    </dgm:pt>
    <dgm:pt modelId="{54873BBF-5DE8-BD4C-A0EA-8E73B8888025}" type="pres">
      <dgm:prSet presAssocID="{80AE7B01-E953-7E44-AF22-91AE1641F968}" presName="node" presStyleLbl="node1" presStyleIdx="3" presStyleCnt="4">
        <dgm:presLayoutVars>
          <dgm:bulletEnabled val="1"/>
        </dgm:presLayoutVars>
      </dgm:prSet>
      <dgm:spPr/>
    </dgm:pt>
  </dgm:ptLst>
  <dgm:cxnLst>
    <dgm:cxn modelId="{A4B0A316-BF33-F545-8066-865D58F846C0}" type="presOf" srcId="{3403349F-E7D7-B147-903D-F800DF7DFCCC}" destId="{BD2E6ECD-1699-3641-B4F6-C2AB1C9C6A20}" srcOrd="0" destOrd="0" presId="urn:microsoft.com/office/officeart/2005/8/layout/radial4"/>
    <dgm:cxn modelId="{E1B5671C-0FA1-8145-8F85-8507F543BFA4}" type="presOf" srcId="{6CD2B849-4629-5E4A-995C-009537E760FA}" destId="{DFC2CFEC-6F45-D347-AF2A-4159A75EA64A}" srcOrd="0" destOrd="0" presId="urn:microsoft.com/office/officeart/2005/8/layout/radial4"/>
    <dgm:cxn modelId="{1B59232D-F382-1246-995A-B322A3C7DF0B}" type="presOf" srcId="{97114EE1-2E4F-BE48-AE57-FF8349140A11}" destId="{F7E536B4-C006-8348-8DC4-6BED60AF1078}" srcOrd="0" destOrd="0" presId="urn:microsoft.com/office/officeart/2005/8/layout/radial4"/>
    <dgm:cxn modelId="{5A901051-BCF9-F848-B311-918A27C66B88}" type="presOf" srcId="{DC30566C-4031-6F4E-B74C-B4898C3480D0}" destId="{0C80C1BD-3D9A-C843-B2B3-ABEDE82D8759}" srcOrd="0" destOrd="0" presId="urn:microsoft.com/office/officeart/2005/8/layout/radial4"/>
    <dgm:cxn modelId="{A76F3E54-8331-6B46-8CF1-D41184EB7450}" type="presOf" srcId="{52374DE0-101F-9842-9818-D45159530740}" destId="{0D0FB1DF-9B68-0F4A-BBE7-CA6D97B057CF}" srcOrd="0" destOrd="0" presId="urn:microsoft.com/office/officeart/2005/8/layout/radial4"/>
    <dgm:cxn modelId="{A55A5F5D-B274-7D41-85CD-58A7F8A2C871}" type="presOf" srcId="{9318AF70-B3C7-E24D-8AD8-9B5F381E38EA}" destId="{D3B1883A-EE13-2749-AAF0-B3AC5D9413A7}" srcOrd="0" destOrd="0" presId="urn:microsoft.com/office/officeart/2005/8/layout/radial4"/>
    <dgm:cxn modelId="{E917EE70-5DD8-6447-8956-F888F689FDB6}" srcId="{97114EE1-2E4F-BE48-AE57-FF8349140A11}" destId="{3403349F-E7D7-B147-903D-F800DF7DFCCC}" srcOrd="0" destOrd="0" parTransId="{52374DE0-101F-9842-9818-D45159530740}" sibTransId="{B0F1B584-903D-CD47-ACB4-38C2D07B4034}"/>
    <dgm:cxn modelId="{A620AA7F-E40B-624E-B17F-AF6CC62FBE4B}" srcId="{97114EE1-2E4F-BE48-AE57-FF8349140A11}" destId="{9318AF70-B3C7-E24D-8AD8-9B5F381E38EA}" srcOrd="2" destOrd="0" parTransId="{B7BA2AF5-7EAC-214E-A23E-C0D8F784A70B}" sibTransId="{20D76BD7-2203-4C4F-9C9B-04B995162571}"/>
    <dgm:cxn modelId="{31181A8D-3779-6C46-B40D-7F19DE4E1390}" srcId="{97114EE1-2E4F-BE48-AE57-FF8349140A11}" destId="{C65FF2F2-9296-E346-9B21-EE3CC84F8CCC}" srcOrd="1" destOrd="0" parTransId="{3C15EB39-434B-B549-A222-54D3C2A70494}" sibTransId="{95BE2872-6286-D040-8962-088136530766}"/>
    <dgm:cxn modelId="{554433C1-DE48-FD4E-ABE7-9A8BF40FB8B2}" type="presOf" srcId="{C65FF2F2-9296-E346-9B21-EE3CC84F8CCC}" destId="{2CF5785E-8B0C-8C49-A882-DFDDE0E01F54}" srcOrd="0" destOrd="0" presId="urn:microsoft.com/office/officeart/2005/8/layout/radial4"/>
    <dgm:cxn modelId="{F84906D0-9AAB-1B44-89CF-A064102412B1}" srcId="{6CD2B849-4629-5E4A-995C-009537E760FA}" destId="{97114EE1-2E4F-BE48-AE57-FF8349140A11}" srcOrd="0" destOrd="0" parTransId="{3FF67B46-4522-E14A-8638-C572D24086F0}" sibTransId="{AC7A3C24-BE3C-5246-8A04-119DF851928C}"/>
    <dgm:cxn modelId="{5A4580DF-47EA-6F47-947B-8414CA68E554}" type="presOf" srcId="{3C15EB39-434B-B549-A222-54D3C2A70494}" destId="{A0EACFA0-5B7D-0E47-B591-F524D4DC0DBD}" srcOrd="0" destOrd="0" presId="urn:microsoft.com/office/officeart/2005/8/layout/radial4"/>
    <dgm:cxn modelId="{424963E4-D77E-E444-8622-0F2808A608A4}" type="presOf" srcId="{80AE7B01-E953-7E44-AF22-91AE1641F968}" destId="{54873BBF-5DE8-BD4C-A0EA-8E73B8888025}" srcOrd="0" destOrd="0" presId="urn:microsoft.com/office/officeart/2005/8/layout/radial4"/>
    <dgm:cxn modelId="{31E88CEE-D022-B94A-BBFF-D8D5A0429EB7}" type="presOf" srcId="{B7BA2AF5-7EAC-214E-A23E-C0D8F784A70B}" destId="{7272E9E1-35F9-214E-92A5-4452D94A04E4}" srcOrd="0" destOrd="0" presId="urn:microsoft.com/office/officeart/2005/8/layout/radial4"/>
    <dgm:cxn modelId="{153CFBEF-1B8F-674F-8A95-738B39995ACA}" srcId="{97114EE1-2E4F-BE48-AE57-FF8349140A11}" destId="{80AE7B01-E953-7E44-AF22-91AE1641F968}" srcOrd="3" destOrd="0" parTransId="{DC30566C-4031-6F4E-B74C-B4898C3480D0}" sibTransId="{18787789-B293-744D-9943-48B1A84B3BA7}"/>
    <dgm:cxn modelId="{3988C777-2F78-E046-B42F-BEE16817795D}" type="presParOf" srcId="{DFC2CFEC-6F45-D347-AF2A-4159A75EA64A}" destId="{F7E536B4-C006-8348-8DC4-6BED60AF1078}" srcOrd="0" destOrd="0" presId="urn:microsoft.com/office/officeart/2005/8/layout/radial4"/>
    <dgm:cxn modelId="{CCF6C8ED-0B11-A44F-8A36-F25EB7265083}" type="presParOf" srcId="{DFC2CFEC-6F45-D347-AF2A-4159A75EA64A}" destId="{0D0FB1DF-9B68-0F4A-BBE7-CA6D97B057CF}" srcOrd="1" destOrd="0" presId="urn:microsoft.com/office/officeart/2005/8/layout/radial4"/>
    <dgm:cxn modelId="{20BD391C-B641-B641-9013-B706A1716BE0}" type="presParOf" srcId="{DFC2CFEC-6F45-D347-AF2A-4159A75EA64A}" destId="{BD2E6ECD-1699-3641-B4F6-C2AB1C9C6A20}" srcOrd="2" destOrd="0" presId="urn:microsoft.com/office/officeart/2005/8/layout/radial4"/>
    <dgm:cxn modelId="{6AF6C684-198F-2746-BD5A-B7F86D540380}" type="presParOf" srcId="{DFC2CFEC-6F45-D347-AF2A-4159A75EA64A}" destId="{A0EACFA0-5B7D-0E47-B591-F524D4DC0DBD}" srcOrd="3" destOrd="0" presId="urn:microsoft.com/office/officeart/2005/8/layout/radial4"/>
    <dgm:cxn modelId="{0A758E08-6EB9-9445-9296-52907913D211}" type="presParOf" srcId="{DFC2CFEC-6F45-D347-AF2A-4159A75EA64A}" destId="{2CF5785E-8B0C-8C49-A882-DFDDE0E01F54}" srcOrd="4" destOrd="0" presId="urn:microsoft.com/office/officeart/2005/8/layout/radial4"/>
    <dgm:cxn modelId="{447B1275-270F-4340-AAF3-8BCC0B647066}" type="presParOf" srcId="{DFC2CFEC-6F45-D347-AF2A-4159A75EA64A}" destId="{7272E9E1-35F9-214E-92A5-4452D94A04E4}" srcOrd="5" destOrd="0" presId="urn:microsoft.com/office/officeart/2005/8/layout/radial4"/>
    <dgm:cxn modelId="{60FAEC8C-9FA0-1541-9064-770952AD4EF2}" type="presParOf" srcId="{DFC2CFEC-6F45-D347-AF2A-4159A75EA64A}" destId="{D3B1883A-EE13-2749-AAF0-B3AC5D9413A7}" srcOrd="6" destOrd="0" presId="urn:microsoft.com/office/officeart/2005/8/layout/radial4"/>
    <dgm:cxn modelId="{3DD71B25-3269-8D43-8AA9-6968D249349D}" type="presParOf" srcId="{DFC2CFEC-6F45-D347-AF2A-4159A75EA64A}" destId="{0C80C1BD-3D9A-C843-B2B3-ABEDE82D8759}" srcOrd="7" destOrd="0" presId="urn:microsoft.com/office/officeart/2005/8/layout/radial4"/>
    <dgm:cxn modelId="{E2333B18-B5DE-704D-977C-6140330A63DA}" type="presParOf" srcId="{DFC2CFEC-6F45-D347-AF2A-4159A75EA64A}" destId="{54873BBF-5DE8-BD4C-A0EA-8E73B8888025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14F7D60A-670A-EB4B-975D-F5B565CFD254}" type="doc">
      <dgm:prSet loTypeId="urn:microsoft.com/office/officeart/2005/8/layout/bProcess4" loCatId="matrix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2C4162A0-7F17-1747-9F0B-E106C5758075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dirty="0"/>
            <a:t>Windows vs Linux</a:t>
          </a:r>
          <a:endParaRPr lang="en-GB" dirty="0"/>
        </a:p>
      </dgm:t>
    </dgm:pt>
    <dgm:pt modelId="{0D411334-5864-2245-9DAE-82E565004EEB}" type="parTrans" cxnId="{9CA75F25-6517-C74A-B7D7-4AEC75CE7429}">
      <dgm:prSet/>
      <dgm:spPr/>
      <dgm:t>
        <a:bodyPr/>
        <a:lstStyle/>
        <a:p>
          <a:endParaRPr lang="en-GB"/>
        </a:p>
      </dgm:t>
    </dgm:pt>
    <dgm:pt modelId="{501869F5-9028-754B-89A8-2D4DBC662586}" type="sibTrans" cxnId="{9CA75F25-6517-C74A-B7D7-4AEC75CE7429}">
      <dgm:prSet/>
      <dgm:spPr/>
      <dgm:t>
        <a:bodyPr/>
        <a:lstStyle/>
        <a:p>
          <a:endParaRPr lang="en-GB"/>
        </a:p>
      </dgm:t>
    </dgm:pt>
    <dgm:pt modelId="{B08946E5-FE4A-D344-894F-6CCC69460F45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dirty="0"/>
            <a:t>Amazon vs Azure vs Google Cloud vs local clouds vs IT vendor clouds vs hosting vs…</a:t>
          </a:r>
        </a:p>
      </dgm:t>
    </dgm:pt>
    <dgm:pt modelId="{5988F0D6-D35C-BC44-815E-B5D2DCD3F16F}" type="parTrans" cxnId="{08144316-CFBB-1B45-BF5A-B012B2E2BED0}">
      <dgm:prSet/>
      <dgm:spPr/>
      <dgm:t>
        <a:bodyPr/>
        <a:lstStyle/>
        <a:p>
          <a:endParaRPr lang="en-GB"/>
        </a:p>
      </dgm:t>
    </dgm:pt>
    <dgm:pt modelId="{1CBF0A3A-F670-6F4F-848A-B9818704C338}" type="sibTrans" cxnId="{08144316-CFBB-1B45-BF5A-B012B2E2BED0}">
      <dgm:prSet/>
      <dgm:spPr/>
      <dgm:t>
        <a:bodyPr/>
        <a:lstStyle/>
        <a:p>
          <a:endParaRPr lang="en-GB"/>
        </a:p>
      </dgm:t>
    </dgm:pt>
    <dgm:pt modelId="{160BB883-6850-B94D-BA03-59A75FC890E1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dirty="0"/>
            <a:t>JavaScript vs Python vs Java vs Scala vs C# vs PHP vs </a:t>
          </a:r>
          <a:r>
            <a:rPr lang="en-US" dirty="0" err="1"/>
            <a:t>RubyOnRails</a:t>
          </a:r>
          <a:endParaRPr lang="en-US" dirty="0"/>
        </a:p>
      </dgm:t>
    </dgm:pt>
    <dgm:pt modelId="{4E89C65D-933A-704C-82D6-653F3C2BAAC7}" type="parTrans" cxnId="{29B8C346-29D4-CB42-B937-E3EAF5646113}">
      <dgm:prSet/>
      <dgm:spPr/>
      <dgm:t>
        <a:bodyPr/>
        <a:lstStyle/>
        <a:p>
          <a:endParaRPr lang="en-GB"/>
        </a:p>
      </dgm:t>
    </dgm:pt>
    <dgm:pt modelId="{8E2D0F53-C13D-CC45-B5BC-90035F5E057C}" type="sibTrans" cxnId="{29B8C346-29D4-CB42-B937-E3EAF5646113}">
      <dgm:prSet/>
      <dgm:spPr/>
      <dgm:t>
        <a:bodyPr/>
        <a:lstStyle/>
        <a:p>
          <a:endParaRPr lang="en-GB"/>
        </a:p>
      </dgm:t>
    </dgm:pt>
    <dgm:pt modelId="{9BF36D34-CB70-2948-922D-F86D6C7203FC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dirty="0"/>
            <a:t>React vs Flutter vs AngularJS vs Knockout vs Ember vs…</a:t>
          </a:r>
        </a:p>
      </dgm:t>
    </dgm:pt>
    <dgm:pt modelId="{0371BDED-0B32-334C-BBBC-BB3A7CEEF628}" type="parTrans" cxnId="{2C40D409-CA2A-524E-9EAE-897895FA1372}">
      <dgm:prSet/>
      <dgm:spPr/>
      <dgm:t>
        <a:bodyPr/>
        <a:lstStyle/>
        <a:p>
          <a:endParaRPr lang="en-GB"/>
        </a:p>
      </dgm:t>
    </dgm:pt>
    <dgm:pt modelId="{0C724127-3AF4-B34A-97C9-C41EA24985FD}" type="sibTrans" cxnId="{2C40D409-CA2A-524E-9EAE-897895FA1372}">
      <dgm:prSet/>
      <dgm:spPr/>
      <dgm:t>
        <a:bodyPr/>
        <a:lstStyle/>
        <a:p>
          <a:endParaRPr lang="en-GB"/>
        </a:p>
      </dgm:t>
    </dgm:pt>
    <dgm:pt modelId="{C3D5C37A-E287-3049-AA81-36E109401CE7}">
      <dgm:prSet/>
      <dgm:spPr/>
      <dgm:t>
        <a:bodyPr/>
        <a:lstStyle/>
        <a:p>
          <a:r>
            <a:rPr lang="en-US" dirty="0"/>
            <a:t>Spring vs J2EE</a:t>
          </a:r>
        </a:p>
      </dgm:t>
    </dgm:pt>
    <dgm:pt modelId="{22EE1EA4-C9E4-F14C-B2AC-E9A54BD79D44}" type="parTrans" cxnId="{5690DB88-6D7D-EC40-974D-B89071D867F4}">
      <dgm:prSet/>
      <dgm:spPr/>
      <dgm:t>
        <a:bodyPr/>
        <a:lstStyle/>
        <a:p>
          <a:endParaRPr lang="en-GB"/>
        </a:p>
      </dgm:t>
    </dgm:pt>
    <dgm:pt modelId="{4E87FB09-5835-3048-9FE6-1905E9402D93}" type="sibTrans" cxnId="{5690DB88-6D7D-EC40-974D-B89071D867F4}">
      <dgm:prSet/>
      <dgm:spPr/>
      <dgm:t>
        <a:bodyPr/>
        <a:lstStyle/>
        <a:p>
          <a:endParaRPr lang="en-GB"/>
        </a:p>
      </dgm:t>
    </dgm:pt>
    <dgm:pt modelId="{9A99141F-56BD-A149-A3C4-625757E34A24}">
      <dgm:prSet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Relational databases vs NoSQL</a:t>
          </a:r>
        </a:p>
      </dgm:t>
    </dgm:pt>
    <dgm:pt modelId="{DDBE7EB2-25A6-7043-B45C-67828EDE3892}" type="parTrans" cxnId="{34381FA9-E51E-7943-BD97-254F9742EDC5}">
      <dgm:prSet/>
      <dgm:spPr/>
      <dgm:t>
        <a:bodyPr/>
        <a:lstStyle/>
        <a:p>
          <a:endParaRPr lang="en-GB"/>
        </a:p>
      </dgm:t>
    </dgm:pt>
    <dgm:pt modelId="{748AEC4A-7E4F-1641-B78B-78A7F6CBBF4F}" type="sibTrans" cxnId="{34381FA9-E51E-7943-BD97-254F9742EDC5}">
      <dgm:prSet/>
      <dgm:spPr/>
      <dgm:t>
        <a:bodyPr/>
        <a:lstStyle/>
        <a:p>
          <a:endParaRPr lang="en-GB"/>
        </a:p>
      </dgm:t>
    </dgm:pt>
    <dgm:pt modelId="{615B7078-2B67-734A-877E-D644DC9E50A4}">
      <dgm:prSet/>
      <dgm:spPr/>
      <dgm:t>
        <a:bodyPr/>
        <a:lstStyle/>
        <a:p>
          <a:r>
            <a:rPr lang="en-US"/>
            <a:t>MongoDb vs other NoSQL databases</a:t>
          </a:r>
          <a:endParaRPr lang="en-US" dirty="0"/>
        </a:p>
      </dgm:t>
    </dgm:pt>
    <dgm:pt modelId="{E64FD474-74A1-914E-99DD-0715F5B78A4B}" type="parTrans" cxnId="{97D6DA1C-BD2E-7841-AC94-A873F1471FB2}">
      <dgm:prSet/>
      <dgm:spPr/>
      <dgm:t>
        <a:bodyPr/>
        <a:lstStyle/>
        <a:p>
          <a:endParaRPr lang="en-GB"/>
        </a:p>
      </dgm:t>
    </dgm:pt>
    <dgm:pt modelId="{1501278D-F7C8-5E42-8948-AE95B9B220A1}" type="sibTrans" cxnId="{97D6DA1C-BD2E-7841-AC94-A873F1471FB2}">
      <dgm:prSet/>
      <dgm:spPr/>
      <dgm:t>
        <a:bodyPr/>
        <a:lstStyle/>
        <a:p>
          <a:endParaRPr lang="en-GB"/>
        </a:p>
      </dgm:t>
    </dgm:pt>
    <dgm:pt modelId="{93E4A668-CA3F-404B-A764-C05A2BE87E55}">
      <dgm:prSet/>
      <dgm:spPr/>
      <dgm:t>
        <a:bodyPr/>
        <a:lstStyle/>
        <a:p>
          <a:r>
            <a:rPr lang="en-US"/>
            <a:t>EnterpriseBus vs ordinary queues</a:t>
          </a:r>
          <a:endParaRPr lang="en-US" dirty="0"/>
        </a:p>
      </dgm:t>
    </dgm:pt>
    <dgm:pt modelId="{760A444E-EB91-4F40-B8A3-55D721B0E0AA}" type="parTrans" cxnId="{1FC1195F-516A-6C43-86AA-71246BC557D0}">
      <dgm:prSet/>
      <dgm:spPr/>
      <dgm:t>
        <a:bodyPr/>
        <a:lstStyle/>
        <a:p>
          <a:endParaRPr lang="en-GB"/>
        </a:p>
      </dgm:t>
    </dgm:pt>
    <dgm:pt modelId="{F55B9EF6-DED5-5B47-ADCD-1E6F6E788730}" type="sibTrans" cxnId="{1FC1195F-516A-6C43-86AA-71246BC557D0}">
      <dgm:prSet/>
      <dgm:spPr/>
      <dgm:t>
        <a:bodyPr/>
        <a:lstStyle/>
        <a:p>
          <a:endParaRPr lang="en-GB"/>
        </a:p>
      </dgm:t>
    </dgm:pt>
    <dgm:pt modelId="{5A8F98EF-05D8-3A44-9615-D9691448AF45}">
      <dgm:prSet/>
      <dgm:spPr/>
      <dgm:t>
        <a:bodyPr/>
        <a:lstStyle/>
        <a:p>
          <a:r>
            <a:rPr lang="en-US" dirty="0"/>
            <a:t>Commercial or open source</a:t>
          </a:r>
          <a:endParaRPr lang="fi-FI" dirty="0"/>
        </a:p>
      </dgm:t>
    </dgm:pt>
    <dgm:pt modelId="{01DE82AB-3693-3E4C-8F3F-7FD5541C8D29}" type="parTrans" cxnId="{C1310076-6B90-E841-A8C3-ADB1C9219D89}">
      <dgm:prSet/>
      <dgm:spPr/>
      <dgm:t>
        <a:bodyPr/>
        <a:lstStyle/>
        <a:p>
          <a:endParaRPr lang="en-GB"/>
        </a:p>
      </dgm:t>
    </dgm:pt>
    <dgm:pt modelId="{9FEF3BE1-6B9D-7042-803A-D31D217BD2D4}" type="sibTrans" cxnId="{C1310076-6B90-E841-A8C3-ADB1C9219D89}">
      <dgm:prSet/>
      <dgm:spPr/>
      <dgm:t>
        <a:bodyPr/>
        <a:lstStyle/>
        <a:p>
          <a:endParaRPr lang="en-GB"/>
        </a:p>
      </dgm:t>
    </dgm:pt>
    <dgm:pt modelId="{281F6555-9A5E-F24C-81DD-BFA0D8255FED}">
      <dgm:prSet/>
      <dgm:spPr/>
      <dgm:t>
        <a:bodyPr/>
        <a:lstStyle/>
        <a:p>
          <a:r>
            <a:rPr lang="fi-FI" dirty="0" err="1"/>
            <a:t>etc</a:t>
          </a:r>
          <a:endParaRPr lang="fi-FI" dirty="0"/>
        </a:p>
      </dgm:t>
    </dgm:pt>
    <dgm:pt modelId="{D40F5AA9-B034-334A-8E80-E82FB60675CE}" type="parTrans" cxnId="{8CA2A4D8-F4D4-2B4C-AE28-16C94800BC14}">
      <dgm:prSet/>
      <dgm:spPr/>
      <dgm:t>
        <a:bodyPr/>
        <a:lstStyle/>
        <a:p>
          <a:endParaRPr lang="en-GB"/>
        </a:p>
      </dgm:t>
    </dgm:pt>
    <dgm:pt modelId="{DF94CA9F-7650-6D49-9F49-066067F74D43}" type="sibTrans" cxnId="{8CA2A4D8-F4D4-2B4C-AE28-16C94800BC14}">
      <dgm:prSet/>
      <dgm:spPr/>
      <dgm:t>
        <a:bodyPr/>
        <a:lstStyle/>
        <a:p>
          <a:endParaRPr lang="en-GB"/>
        </a:p>
      </dgm:t>
    </dgm:pt>
    <dgm:pt modelId="{1F25B792-2B3C-1F4B-B53C-687F63BB9368}">
      <dgm:prSet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fi-FI" dirty="0" err="1"/>
            <a:t>Native</a:t>
          </a:r>
          <a:r>
            <a:rPr lang="fi-FI" dirty="0"/>
            <a:t> mobile </a:t>
          </a:r>
          <a:r>
            <a:rPr lang="fi-FI" dirty="0" err="1"/>
            <a:t>code</a:t>
          </a:r>
          <a:r>
            <a:rPr lang="fi-FI" dirty="0"/>
            <a:t> </a:t>
          </a:r>
          <a:r>
            <a:rPr lang="fi-FI" dirty="0" err="1"/>
            <a:t>vs</a:t>
          </a:r>
          <a:r>
            <a:rPr lang="fi-FI" dirty="0"/>
            <a:t> </a:t>
          </a:r>
          <a:r>
            <a:rPr lang="fi-FI" dirty="0" err="1"/>
            <a:t>React</a:t>
          </a:r>
          <a:r>
            <a:rPr lang="fi-FI" dirty="0"/>
            <a:t> </a:t>
          </a:r>
          <a:r>
            <a:rPr lang="fi-FI" dirty="0" err="1"/>
            <a:t>vs</a:t>
          </a:r>
          <a:r>
            <a:rPr lang="fi-FI" dirty="0"/>
            <a:t> HTML5 </a:t>
          </a:r>
          <a:r>
            <a:rPr lang="fi-FI" dirty="0" err="1"/>
            <a:t>vs</a:t>
          </a:r>
          <a:r>
            <a:rPr lang="fi-FI" dirty="0"/>
            <a:t> </a:t>
          </a:r>
          <a:r>
            <a:rPr lang="fi-FI" dirty="0" err="1"/>
            <a:t>generators</a:t>
          </a:r>
          <a:endParaRPr lang="fi-FI" dirty="0"/>
        </a:p>
      </dgm:t>
    </dgm:pt>
    <dgm:pt modelId="{9E84F660-7554-FF4E-8FB0-5A14AB1162AD}" type="parTrans" cxnId="{4E535548-457A-0843-8116-09BE297A69DB}">
      <dgm:prSet/>
      <dgm:spPr/>
      <dgm:t>
        <a:bodyPr/>
        <a:lstStyle/>
        <a:p>
          <a:endParaRPr lang="en-GB"/>
        </a:p>
      </dgm:t>
    </dgm:pt>
    <dgm:pt modelId="{ACA2B040-07DA-C948-8E09-443EAF433AF6}" type="sibTrans" cxnId="{4E535548-457A-0843-8116-09BE297A69DB}">
      <dgm:prSet/>
      <dgm:spPr/>
      <dgm:t>
        <a:bodyPr/>
        <a:lstStyle/>
        <a:p>
          <a:endParaRPr lang="en-GB"/>
        </a:p>
      </dgm:t>
    </dgm:pt>
    <dgm:pt modelId="{02010AC4-92BD-CD44-A373-7BCEE2917180}" type="pres">
      <dgm:prSet presAssocID="{14F7D60A-670A-EB4B-975D-F5B565CFD254}" presName="Name0" presStyleCnt="0">
        <dgm:presLayoutVars>
          <dgm:dir/>
          <dgm:resizeHandles/>
        </dgm:presLayoutVars>
      </dgm:prSet>
      <dgm:spPr/>
    </dgm:pt>
    <dgm:pt modelId="{4174C946-8FC0-D64E-9615-D94B38B1EFB1}" type="pres">
      <dgm:prSet presAssocID="{B08946E5-FE4A-D344-894F-6CCC69460F45}" presName="compNode" presStyleCnt="0"/>
      <dgm:spPr/>
    </dgm:pt>
    <dgm:pt modelId="{6EB1354A-3B9D-DE40-9923-81D78FE2F790}" type="pres">
      <dgm:prSet presAssocID="{B08946E5-FE4A-D344-894F-6CCC69460F45}" presName="dummyConnPt" presStyleCnt="0"/>
      <dgm:spPr/>
    </dgm:pt>
    <dgm:pt modelId="{B31DDABD-B425-D948-85CE-0EA98231D3FC}" type="pres">
      <dgm:prSet presAssocID="{B08946E5-FE4A-D344-894F-6CCC69460F45}" presName="node" presStyleLbl="node1" presStyleIdx="0" presStyleCnt="11">
        <dgm:presLayoutVars>
          <dgm:bulletEnabled val="1"/>
        </dgm:presLayoutVars>
      </dgm:prSet>
      <dgm:spPr/>
    </dgm:pt>
    <dgm:pt modelId="{EFEB8688-B541-8943-85A2-0BB97A624692}" type="pres">
      <dgm:prSet presAssocID="{1CBF0A3A-F670-6F4F-848A-B9818704C338}" presName="sibTrans" presStyleLbl="bgSibTrans2D1" presStyleIdx="0" presStyleCnt="10"/>
      <dgm:spPr/>
    </dgm:pt>
    <dgm:pt modelId="{3CC79340-D8E1-2A49-86C9-A98BE38732A1}" type="pres">
      <dgm:prSet presAssocID="{160BB883-6850-B94D-BA03-59A75FC890E1}" presName="compNode" presStyleCnt="0"/>
      <dgm:spPr/>
    </dgm:pt>
    <dgm:pt modelId="{0CDD6FA9-3CBD-FD42-A2EE-55F5073AE188}" type="pres">
      <dgm:prSet presAssocID="{160BB883-6850-B94D-BA03-59A75FC890E1}" presName="dummyConnPt" presStyleCnt="0"/>
      <dgm:spPr/>
    </dgm:pt>
    <dgm:pt modelId="{35069B0B-156B-9845-B856-833E2010C676}" type="pres">
      <dgm:prSet presAssocID="{160BB883-6850-B94D-BA03-59A75FC890E1}" presName="node" presStyleLbl="node1" presStyleIdx="1" presStyleCnt="11">
        <dgm:presLayoutVars>
          <dgm:bulletEnabled val="1"/>
        </dgm:presLayoutVars>
      </dgm:prSet>
      <dgm:spPr/>
    </dgm:pt>
    <dgm:pt modelId="{A2A06673-3EB0-5749-94CA-D3749D4DB1D7}" type="pres">
      <dgm:prSet presAssocID="{8E2D0F53-C13D-CC45-B5BC-90035F5E057C}" presName="sibTrans" presStyleLbl="bgSibTrans2D1" presStyleIdx="1" presStyleCnt="10"/>
      <dgm:spPr/>
    </dgm:pt>
    <dgm:pt modelId="{20644D3D-F044-6044-BB89-2967E0356D7A}" type="pres">
      <dgm:prSet presAssocID="{9BF36D34-CB70-2948-922D-F86D6C7203FC}" presName="compNode" presStyleCnt="0"/>
      <dgm:spPr/>
    </dgm:pt>
    <dgm:pt modelId="{0BF899C3-C73C-DE45-AD10-4ACCF1443AF8}" type="pres">
      <dgm:prSet presAssocID="{9BF36D34-CB70-2948-922D-F86D6C7203FC}" presName="dummyConnPt" presStyleCnt="0"/>
      <dgm:spPr/>
    </dgm:pt>
    <dgm:pt modelId="{11CD14F4-9EBA-1F42-A08F-892461D29BE5}" type="pres">
      <dgm:prSet presAssocID="{9BF36D34-CB70-2948-922D-F86D6C7203FC}" presName="node" presStyleLbl="node1" presStyleIdx="2" presStyleCnt="11">
        <dgm:presLayoutVars>
          <dgm:bulletEnabled val="1"/>
        </dgm:presLayoutVars>
      </dgm:prSet>
      <dgm:spPr/>
    </dgm:pt>
    <dgm:pt modelId="{36A0DD0B-D22F-7646-9CF5-202D3F018BDE}" type="pres">
      <dgm:prSet presAssocID="{0C724127-3AF4-B34A-97C9-C41EA24985FD}" presName="sibTrans" presStyleLbl="bgSibTrans2D1" presStyleIdx="2" presStyleCnt="10"/>
      <dgm:spPr/>
    </dgm:pt>
    <dgm:pt modelId="{A7BEB207-01BD-D74F-9FF8-BED02A662974}" type="pres">
      <dgm:prSet presAssocID="{1F25B792-2B3C-1F4B-B53C-687F63BB9368}" presName="compNode" presStyleCnt="0"/>
      <dgm:spPr/>
    </dgm:pt>
    <dgm:pt modelId="{237CF9E3-921B-4C42-84B9-55ECB34CA0EC}" type="pres">
      <dgm:prSet presAssocID="{1F25B792-2B3C-1F4B-B53C-687F63BB9368}" presName="dummyConnPt" presStyleCnt="0"/>
      <dgm:spPr/>
    </dgm:pt>
    <dgm:pt modelId="{2B6F55DF-887A-A543-B681-046BF4E8793D}" type="pres">
      <dgm:prSet presAssocID="{1F25B792-2B3C-1F4B-B53C-687F63BB9368}" presName="node" presStyleLbl="node1" presStyleIdx="3" presStyleCnt="11">
        <dgm:presLayoutVars>
          <dgm:bulletEnabled val="1"/>
        </dgm:presLayoutVars>
      </dgm:prSet>
      <dgm:spPr/>
    </dgm:pt>
    <dgm:pt modelId="{C0AC413A-F1DB-3C4E-88D5-B0833477FC39}" type="pres">
      <dgm:prSet presAssocID="{ACA2B040-07DA-C948-8E09-443EAF433AF6}" presName="sibTrans" presStyleLbl="bgSibTrans2D1" presStyleIdx="3" presStyleCnt="10"/>
      <dgm:spPr/>
    </dgm:pt>
    <dgm:pt modelId="{F8AE21E8-36E0-4244-A04B-0DE9AB808D7A}" type="pres">
      <dgm:prSet presAssocID="{9A99141F-56BD-A149-A3C4-625757E34A24}" presName="compNode" presStyleCnt="0"/>
      <dgm:spPr/>
    </dgm:pt>
    <dgm:pt modelId="{D7AEF0FF-724B-F645-BB5C-649000A908CB}" type="pres">
      <dgm:prSet presAssocID="{9A99141F-56BD-A149-A3C4-625757E34A24}" presName="dummyConnPt" presStyleCnt="0"/>
      <dgm:spPr/>
    </dgm:pt>
    <dgm:pt modelId="{FA97D9AC-9829-C247-9ACF-B9BE4ED9F988}" type="pres">
      <dgm:prSet presAssocID="{9A99141F-56BD-A149-A3C4-625757E34A24}" presName="node" presStyleLbl="node1" presStyleIdx="4" presStyleCnt="11">
        <dgm:presLayoutVars>
          <dgm:bulletEnabled val="1"/>
        </dgm:presLayoutVars>
      </dgm:prSet>
      <dgm:spPr/>
    </dgm:pt>
    <dgm:pt modelId="{E2618D6B-8F44-3B44-A949-DF332087A83D}" type="pres">
      <dgm:prSet presAssocID="{748AEC4A-7E4F-1641-B78B-78A7F6CBBF4F}" presName="sibTrans" presStyleLbl="bgSibTrans2D1" presStyleIdx="4" presStyleCnt="10"/>
      <dgm:spPr/>
    </dgm:pt>
    <dgm:pt modelId="{DCFE1CA2-8FE1-2A4B-85CF-0C51A44D8211}" type="pres">
      <dgm:prSet presAssocID="{2C4162A0-7F17-1747-9F0B-E106C5758075}" presName="compNode" presStyleCnt="0"/>
      <dgm:spPr/>
    </dgm:pt>
    <dgm:pt modelId="{F25296FA-B5AC-9342-B79E-3D66800714B2}" type="pres">
      <dgm:prSet presAssocID="{2C4162A0-7F17-1747-9F0B-E106C5758075}" presName="dummyConnPt" presStyleCnt="0"/>
      <dgm:spPr/>
    </dgm:pt>
    <dgm:pt modelId="{B14AD961-5791-2B41-B695-85C0E19B372E}" type="pres">
      <dgm:prSet presAssocID="{2C4162A0-7F17-1747-9F0B-E106C5758075}" presName="node" presStyleLbl="node1" presStyleIdx="5" presStyleCnt="11">
        <dgm:presLayoutVars>
          <dgm:bulletEnabled val="1"/>
        </dgm:presLayoutVars>
      </dgm:prSet>
      <dgm:spPr/>
    </dgm:pt>
    <dgm:pt modelId="{0F04647C-5A0C-D04A-832C-1A08A5783F6A}" type="pres">
      <dgm:prSet presAssocID="{501869F5-9028-754B-89A8-2D4DBC662586}" presName="sibTrans" presStyleLbl="bgSibTrans2D1" presStyleIdx="5" presStyleCnt="10"/>
      <dgm:spPr/>
    </dgm:pt>
    <dgm:pt modelId="{FE21428F-0390-E746-AABA-3827F2A3F153}" type="pres">
      <dgm:prSet presAssocID="{615B7078-2B67-734A-877E-D644DC9E50A4}" presName="compNode" presStyleCnt="0"/>
      <dgm:spPr/>
    </dgm:pt>
    <dgm:pt modelId="{845AA5BA-4959-E14F-AC68-0A29F54524D5}" type="pres">
      <dgm:prSet presAssocID="{615B7078-2B67-734A-877E-D644DC9E50A4}" presName="dummyConnPt" presStyleCnt="0"/>
      <dgm:spPr/>
    </dgm:pt>
    <dgm:pt modelId="{7833E341-84B3-CA44-8B5B-99BDB0FBF30E}" type="pres">
      <dgm:prSet presAssocID="{615B7078-2B67-734A-877E-D644DC9E50A4}" presName="node" presStyleLbl="node1" presStyleIdx="6" presStyleCnt="11">
        <dgm:presLayoutVars>
          <dgm:bulletEnabled val="1"/>
        </dgm:presLayoutVars>
      </dgm:prSet>
      <dgm:spPr/>
    </dgm:pt>
    <dgm:pt modelId="{E77299CF-86C6-7C49-B84E-DF628288E504}" type="pres">
      <dgm:prSet presAssocID="{1501278D-F7C8-5E42-8948-AE95B9B220A1}" presName="sibTrans" presStyleLbl="bgSibTrans2D1" presStyleIdx="6" presStyleCnt="10"/>
      <dgm:spPr/>
    </dgm:pt>
    <dgm:pt modelId="{0DCBA303-9BED-7543-BF37-A92715BD3524}" type="pres">
      <dgm:prSet presAssocID="{93E4A668-CA3F-404B-A764-C05A2BE87E55}" presName="compNode" presStyleCnt="0"/>
      <dgm:spPr/>
    </dgm:pt>
    <dgm:pt modelId="{A8AA6C93-3C6C-2449-BFC3-DD6FB15476A6}" type="pres">
      <dgm:prSet presAssocID="{93E4A668-CA3F-404B-A764-C05A2BE87E55}" presName="dummyConnPt" presStyleCnt="0"/>
      <dgm:spPr/>
    </dgm:pt>
    <dgm:pt modelId="{6FB86309-52FE-E043-919B-0563669DBD6D}" type="pres">
      <dgm:prSet presAssocID="{93E4A668-CA3F-404B-A764-C05A2BE87E55}" presName="node" presStyleLbl="node1" presStyleIdx="7" presStyleCnt="11">
        <dgm:presLayoutVars>
          <dgm:bulletEnabled val="1"/>
        </dgm:presLayoutVars>
      </dgm:prSet>
      <dgm:spPr/>
    </dgm:pt>
    <dgm:pt modelId="{3C6A7C76-F73F-5744-BD67-A99F7D1FD5EF}" type="pres">
      <dgm:prSet presAssocID="{F55B9EF6-DED5-5B47-ADCD-1E6F6E788730}" presName="sibTrans" presStyleLbl="bgSibTrans2D1" presStyleIdx="7" presStyleCnt="10"/>
      <dgm:spPr/>
    </dgm:pt>
    <dgm:pt modelId="{07391878-89E8-AD44-AA73-AA050F9D8424}" type="pres">
      <dgm:prSet presAssocID="{C3D5C37A-E287-3049-AA81-36E109401CE7}" presName="compNode" presStyleCnt="0"/>
      <dgm:spPr/>
    </dgm:pt>
    <dgm:pt modelId="{2851575C-F951-124D-A015-8B1C85597B75}" type="pres">
      <dgm:prSet presAssocID="{C3D5C37A-E287-3049-AA81-36E109401CE7}" presName="dummyConnPt" presStyleCnt="0"/>
      <dgm:spPr/>
    </dgm:pt>
    <dgm:pt modelId="{663423EF-CA9B-A741-91DF-3C8FD56CF154}" type="pres">
      <dgm:prSet presAssocID="{C3D5C37A-E287-3049-AA81-36E109401CE7}" presName="node" presStyleLbl="node1" presStyleIdx="8" presStyleCnt="11">
        <dgm:presLayoutVars>
          <dgm:bulletEnabled val="1"/>
        </dgm:presLayoutVars>
      </dgm:prSet>
      <dgm:spPr/>
    </dgm:pt>
    <dgm:pt modelId="{9417C43E-59C5-BF46-AD5C-9EFB6F8FD81F}" type="pres">
      <dgm:prSet presAssocID="{4E87FB09-5835-3048-9FE6-1905E9402D93}" presName="sibTrans" presStyleLbl="bgSibTrans2D1" presStyleIdx="8" presStyleCnt="10"/>
      <dgm:spPr/>
    </dgm:pt>
    <dgm:pt modelId="{2D96AF98-97CF-814B-A937-3F674D1D1009}" type="pres">
      <dgm:prSet presAssocID="{5A8F98EF-05D8-3A44-9615-D9691448AF45}" presName="compNode" presStyleCnt="0"/>
      <dgm:spPr/>
    </dgm:pt>
    <dgm:pt modelId="{E45C9D20-02F5-004D-80C9-0DC3C17BF617}" type="pres">
      <dgm:prSet presAssocID="{5A8F98EF-05D8-3A44-9615-D9691448AF45}" presName="dummyConnPt" presStyleCnt="0"/>
      <dgm:spPr/>
    </dgm:pt>
    <dgm:pt modelId="{9035E330-481F-494E-A000-E0D5B39D93E0}" type="pres">
      <dgm:prSet presAssocID="{5A8F98EF-05D8-3A44-9615-D9691448AF45}" presName="node" presStyleLbl="node1" presStyleIdx="9" presStyleCnt="11">
        <dgm:presLayoutVars>
          <dgm:bulletEnabled val="1"/>
        </dgm:presLayoutVars>
      </dgm:prSet>
      <dgm:spPr/>
    </dgm:pt>
    <dgm:pt modelId="{6C04D6CB-372E-AD41-9B72-AAC9469F9D50}" type="pres">
      <dgm:prSet presAssocID="{9FEF3BE1-6B9D-7042-803A-D31D217BD2D4}" presName="sibTrans" presStyleLbl="bgSibTrans2D1" presStyleIdx="9" presStyleCnt="10"/>
      <dgm:spPr/>
    </dgm:pt>
    <dgm:pt modelId="{CD3BE3A7-26FE-0441-B4F5-9379BF310568}" type="pres">
      <dgm:prSet presAssocID="{281F6555-9A5E-F24C-81DD-BFA0D8255FED}" presName="compNode" presStyleCnt="0"/>
      <dgm:spPr/>
    </dgm:pt>
    <dgm:pt modelId="{592BBAD7-BE0B-CA4E-9D44-654750DFE8D4}" type="pres">
      <dgm:prSet presAssocID="{281F6555-9A5E-F24C-81DD-BFA0D8255FED}" presName="dummyConnPt" presStyleCnt="0"/>
      <dgm:spPr/>
    </dgm:pt>
    <dgm:pt modelId="{40980663-D43C-B843-A1A8-31318195C75C}" type="pres">
      <dgm:prSet presAssocID="{281F6555-9A5E-F24C-81DD-BFA0D8255FED}" presName="node" presStyleLbl="node1" presStyleIdx="10" presStyleCnt="11">
        <dgm:presLayoutVars>
          <dgm:bulletEnabled val="1"/>
        </dgm:presLayoutVars>
      </dgm:prSet>
      <dgm:spPr/>
    </dgm:pt>
  </dgm:ptLst>
  <dgm:cxnLst>
    <dgm:cxn modelId="{827BC501-1BA5-9F4F-A6BA-4A6487577669}" type="presOf" srcId="{1F25B792-2B3C-1F4B-B53C-687F63BB9368}" destId="{2B6F55DF-887A-A543-B681-046BF4E8793D}" srcOrd="0" destOrd="0" presId="urn:microsoft.com/office/officeart/2005/8/layout/bProcess4"/>
    <dgm:cxn modelId="{2C40D409-CA2A-524E-9EAE-897895FA1372}" srcId="{14F7D60A-670A-EB4B-975D-F5B565CFD254}" destId="{9BF36D34-CB70-2948-922D-F86D6C7203FC}" srcOrd="2" destOrd="0" parTransId="{0371BDED-0B32-334C-BBBC-BB3A7CEEF628}" sibTransId="{0C724127-3AF4-B34A-97C9-C41EA24985FD}"/>
    <dgm:cxn modelId="{7BEF9F0B-AAEA-2146-8613-E6224394005F}" type="presOf" srcId="{2C4162A0-7F17-1747-9F0B-E106C5758075}" destId="{B14AD961-5791-2B41-B695-85C0E19B372E}" srcOrd="0" destOrd="0" presId="urn:microsoft.com/office/officeart/2005/8/layout/bProcess4"/>
    <dgm:cxn modelId="{08144316-CFBB-1B45-BF5A-B012B2E2BED0}" srcId="{14F7D60A-670A-EB4B-975D-F5B565CFD254}" destId="{B08946E5-FE4A-D344-894F-6CCC69460F45}" srcOrd="0" destOrd="0" parTransId="{5988F0D6-D35C-BC44-815E-B5D2DCD3F16F}" sibTransId="{1CBF0A3A-F670-6F4F-848A-B9818704C338}"/>
    <dgm:cxn modelId="{C0587418-51A9-6C43-8998-EE8A6C22D4BC}" type="presOf" srcId="{5A8F98EF-05D8-3A44-9615-D9691448AF45}" destId="{9035E330-481F-494E-A000-E0D5B39D93E0}" srcOrd="0" destOrd="0" presId="urn:microsoft.com/office/officeart/2005/8/layout/bProcess4"/>
    <dgm:cxn modelId="{97D6DA1C-BD2E-7841-AC94-A873F1471FB2}" srcId="{14F7D60A-670A-EB4B-975D-F5B565CFD254}" destId="{615B7078-2B67-734A-877E-D644DC9E50A4}" srcOrd="6" destOrd="0" parTransId="{E64FD474-74A1-914E-99DD-0715F5B78A4B}" sibTransId="{1501278D-F7C8-5E42-8948-AE95B9B220A1}"/>
    <dgm:cxn modelId="{AAB6FB1F-CF77-F044-8982-1FA4F74159BC}" type="presOf" srcId="{F55B9EF6-DED5-5B47-ADCD-1E6F6E788730}" destId="{3C6A7C76-F73F-5744-BD67-A99F7D1FD5EF}" srcOrd="0" destOrd="0" presId="urn:microsoft.com/office/officeart/2005/8/layout/bProcess4"/>
    <dgm:cxn modelId="{9CA75F25-6517-C74A-B7D7-4AEC75CE7429}" srcId="{14F7D60A-670A-EB4B-975D-F5B565CFD254}" destId="{2C4162A0-7F17-1747-9F0B-E106C5758075}" srcOrd="5" destOrd="0" parTransId="{0D411334-5864-2245-9DAE-82E565004EEB}" sibTransId="{501869F5-9028-754B-89A8-2D4DBC662586}"/>
    <dgm:cxn modelId="{A16E1332-37B0-E947-826B-C785C9650E93}" type="presOf" srcId="{748AEC4A-7E4F-1641-B78B-78A7F6CBBF4F}" destId="{E2618D6B-8F44-3B44-A949-DF332087A83D}" srcOrd="0" destOrd="0" presId="urn:microsoft.com/office/officeart/2005/8/layout/bProcess4"/>
    <dgm:cxn modelId="{F403573B-E8A7-014B-9580-0CF61079B8A8}" type="presOf" srcId="{501869F5-9028-754B-89A8-2D4DBC662586}" destId="{0F04647C-5A0C-D04A-832C-1A08A5783F6A}" srcOrd="0" destOrd="0" presId="urn:microsoft.com/office/officeart/2005/8/layout/bProcess4"/>
    <dgm:cxn modelId="{EBE0F33B-F6AB-A648-A6F9-43559D132F3C}" type="presOf" srcId="{8E2D0F53-C13D-CC45-B5BC-90035F5E057C}" destId="{A2A06673-3EB0-5749-94CA-D3749D4DB1D7}" srcOrd="0" destOrd="0" presId="urn:microsoft.com/office/officeart/2005/8/layout/bProcess4"/>
    <dgm:cxn modelId="{76F50245-4AF0-0840-8E52-1D3C06A24703}" type="presOf" srcId="{B08946E5-FE4A-D344-894F-6CCC69460F45}" destId="{B31DDABD-B425-D948-85CE-0EA98231D3FC}" srcOrd="0" destOrd="0" presId="urn:microsoft.com/office/officeart/2005/8/layout/bProcess4"/>
    <dgm:cxn modelId="{29B8C346-29D4-CB42-B937-E3EAF5646113}" srcId="{14F7D60A-670A-EB4B-975D-F5B565CFD254}" destId="{160BB883-6850-B94D-BA03-59A75FC890E1}" srcOrd="1" destOrd="0" parTransId="{4E89C65D-933A-704C-82D6-653F3C2BAAC7}" sibTransId="{8E2D0F53-C13D-CC45-B5BC-90035F5E057C}"/>
    <dgm:cxn modelId="{4E535548-457A-0843-8116-09BE297A69DB}" srcId="{14F7D60A-670A-EB4B-975D-F5B565CFD254}" destId="{1F25B792-2B3C-1F4B-B53C-687F63BB9368}" srcOrd="3" destOrd="0" parTransId="{9E84F660-7554-FF4E-8FB0-5A14AB1162AD}" sibTransId="{ACA2B040-07DA-C948-8E09-443EAF433AF6}"/>
    <dgm:cxn modelId="{84938F54-C747-9648-992D-32A1F09609A1}" type="presOf" srcId="{281F6555-9A5E-F24C-81DD-BFA0D8255FED}" destId="{40980663-D43C-B843-A1A8-31318195C75C}" srcOrd="0" destOrd="0" presId="urn:microsoft.com/office/officeart/2005/8/layout/bProcess4"/>
    <dgm:cxn modelId="{29059955-6BA7-8B4D-99C9-5841C7504192}" type="presOf" srcId="{160BB883-6850-B94D-BA03-59A75FC890E1}" destId="{35069B0B-156B-9845-B856-833E2010C676}" srcOrd="0" destOrd="0" presId="urn:microsoft.com/office/officeart/2005/8/layout/bProcess4"/>
    <dgm:cxn modelId="{1FC1195F-516A-6C43-86AA-71246BC557D0}" srcId="{14F7D60A-670A-EB4B-975D-F5B565CFD254}" destId="{93E4A668-CA3F-404B-A764-C05A2BE87E55}" srcOrd="7" destOrd="0" parTransId="{760A444E-EB91-4F40-B8A3-55D721B0E0AA}" sibTransId="{F55B9EF6-DED5-5B47-ADCD-1E6F6E788730}"/>
    <dgm:cxn modelId="{36666474-3B60-B14C-ABDA-C51AE4FE08D2}" type="presOf" srcId="{9BF36D34-CB70-2948-922D-F86D6C7203FC}" destId="{11CD14F4-9EBA-1F42-A08F-892461D29BE5}" srcOrd="0" destOrd="0" presId="urn:microsoft.com/office/officeart/2005/8/layout/bProcess4"/>
    <dgm:cxn modelId="{C1310076-6B90-E841-A8C3-ADB1C9219D89}" srcId="{14F7D60A-670A-EB4B-975D-F5B565CFD254}" destId="{5A8F98EF-05D8-3A44-9615-D9691448AF45}" srcOrd="9" destOrd="0" parTransId="{01DE82AB-3693-3E4C-8F3F-7FD5541C8D29}" sibTransId="{9FEF3BE1-6B9D-7042-803A-D31D217BD2D4}"/>
    <dgm:cxn modelId="{25556688-B3C3-6140-9D32-AAA6B79B12F1}" type="presOf" srcId="{93E4A668-CA3F-404B-A764-C05A2BE87E55}" destId="{6FB86309-52FE-E043-919B-0563669DBD6D}" srcOrd="0" destOrd="0" presId="urn:microsoft.com/office/officeart/2005/8/layout/bProcess4"/>
    <dgm:cxn modelId="{5690DB88-6D7D-EC40-974D-B89071D867F4}" srcId="{14F7D60A-670A-EB4B-975D-F5B565CFD254}" destId="{C3D5C37A-E287-3049-AA81-36E109401CE7}" srcOrd="8" destOrd="0" parTransId="{22EE1EA4-C9E4-F14C-B2AC-E9A54BD79D44}" sibTransId="{4E87FB09-5835-3048-9FE6-1905E9402D93}"/>
    <dgm:cxn modelId="{B6350C8C-050D-0D47-9C9A-8630D444168C}" type="presOf" srcId="{1501278D-F7C8-5E42-8948-AE95B9B220A1}" destId="{E77299CF-86C6-7C49-B84E-DF628288E504}" srcOrd="0" destOrd="0" presId="urn:microsoft.com/office/officeart/2005/8/layout/bProcess4"/>
    <dgm:cxn modelId="{34381FA9-E51E-7943-BD97-254F9742EDC5}" srcId="{14F7D60A-670A-EB4B-975D-F5B565CFD254}" destId="{9A99141F-56BD-A149-A3C4-625757E34A24}" srcOrd="4" destOrd="0" parTransId="{DDBE7EB2-25A6-7043-B45C-67828EDE3892}" sibTransId="{748AEC4A-7E4F-1641-B78B-78A7F6CBBF4F}"/>
    <dgm:cxn modelId="{A5331FB4-4A5D-E54B-A2BF-370EDEB38FA3}" type="presOf" srcId="{9A99141F-56BD-A149-A3C4-625757E34A24}" destId="{FA97D9AC-9829-C247-9ACF-B9BE4ED9F988}" srcOrd="0" destOrd="0" presId="urn:microsoft.com/office/officeart/2005/8/layout/bProcess4"/>
    <dgm:cxn modelId="{293FFDBC-4193-C245-9FD0-1B48ECD704F5}" type="presOf" srcId="{1CBF0A3A-F670-6F4F-848A-B9818704C338}" destId="{EFEB8688-B541-8943-85A2-0BB97A624692}" srcOrd="0" destOrd="0" presId="urn:microsoft.com/office/officeart/2005/8/layout/bProcess4"/>
    <dgm:cxn modelId="{17BD5DBE-A277-9141-8309-2D5C168FF072}" type="presOf" srcId="{0C724127-3AF4-B34A-97C9-C41EA24985FD}" destId="{36A0DD0B-D22F-7646-9CF5-202D3F018BDE}" srcOrd="0" destOrd="0" presId="urn:microsoft.com/office/officeart/2005/8/layout/bProcess4"/>
    <dgm:cxn modelId="{ADC388C0-9564-E741-9132-85D5393BF6E9}" type="presOf" srcId="{4E87FB09-5835-3048-9FE6-1905E9402D93}" destId="{9417C43E-59C5-BF46-AD5C-9EFB6F8FD81F}" srcOrd="0" destOrd="0" presId="urn:microsoft.com/office/officeart/2005/8/layout/bProcess4"/>
    <dgm:cxn modelId="{79F387C3-7D79-DD43-81FB-F95428BE1583}" type="presOf" srcId="{615B7078-2B67-734A-877E-D644DC9E50A4}" destId="{7833E341-84B3-CA44-8B5B-99BDB0FBF30E}" srcOrd="0" destOrd="0" presId="urn:microsoft.com/office/officeart/2005/8/layout/bProcess4"/>
    <dgm:cxn modelId="{C01A97CF-B0FF-164F-80E5-126D4FA92C8F}" type="presOf" srcId="{14F7D60A-670A-EB4B-975D-F5B565CFD254}" destId="{02010AC4-92BD-CD44-A373-7BCEE2917180}" srcOrd="0" destOrd="0" presId="urn:microsoft.com/office/officeart/2005/8/layout/bProcess4"/>
    <dgm:cxn modelId="{C4DFD3D0-855C-B94B-8BF9-8A1423EA0E53}" type="presOf" srcId="{9FEF3BE1-6B9D-7042-803A-D31D217BD2D4}" destId="{6C04D6CB-372E-AD41-9B72-AAC9469F9D50}" srcOrd="0" destOrd="0" presId="urn:microsoft.com/office/officeart/2005/8/layout/bProcess4"/>
    <dgm:cxn modelId="{9DCDB4D5-C868-7040-A367-1696DA63A405}" type="presOf" srcId="{ACA2B040-07DA-C948-8E09-443EAF433AF6}" destId="{C0AC413A-F1DB-3C4E-88D5-B0833477FC39}" srcOrd="0" destOrd="0" presId="urn:microsoft.com/office/officeart/2005/8/layout/bProcess4"/>
    <dgm:cxn modelId="{8CA2A4D8-F4D4-2B4C-AE28-16C94800BC14}" srcId="{14F7D60A-670A-EB4B-975D-F5B565CFD254}" destId="{281F6555-9A5E-F24C-81DD-BFA0D8255FED}" srcOrd="10" destOrd="0" parTransId="{D40F5AA9-B034-334A-8E80-E82FB60675CE}" sibTransId="{DF94CA9F-7650-6D49-9F49-066067F74D43}"/>
    <dgm:cxn modelId="{343B82E5-02C6-F345-B7D4-07A9BD749D09}" type="presOf" srcId="{C3D5C37A-E287-3049-AA81-36E109401CE7}" destId="{663423EF-CA9B-A741-91DF-3C8FD56CF154}" srcOrd="0" destOrd="0" presId="urn:microsoft.com/office/officeart/2005/8/layout/bProcess4"/>
    <dgm:cxn modelId="{1D204CA8-A070-BD46-A059-A37C38E0F77F}" type="presParOf" srcId="{02010AC4-92BD-CD44-A373-7BCEE2917180}" destId="{4174C946-8FC0-D64E-9615-D94B38B1EFB1}" srcOrd="0" destOrd="0" presId="urn:microsoft.com/office/officeart/2005/8/layout/bProcess4"/>
    <dgm:cxn modelId="{7FA6852C-4903-FE45-8103-8A456EC035C8}" type="presParOf" srcId="{4174C946-8FC0-D64E-9615-D94B38B1EFB1}" destId="{6EB1354A-3B9D-DE40-9923-81D78FE2F790}" srcOrd="0" destOrd="0" presId="urn:microsoft.com/office/officeart/2005/8/layout/bProcess4"/>
    <dgm:cxn modelId="{71F3DF75-E856-8947-B7BE-F7E747F80B45}" type="presParOf" srcId="{4174C946-8FC0-D64E-9615-D94B38B1EFB1}" destId="{B31DDABD-B425-D948-85CE-0EA98231D3FC}" srcOrd="1" destOrd="0" presId="urn:microsoft.com/office/officeart/2005/8/layout/bProcess4"/>
    <dgm:cxn modelId="{53B6D5F4-DA9B-DD42-A4AD-635400B365BA}" type="presParOf" srcId="{02010AC4-92BD-CD44-A373-7BCEE2917180}" destId="{EFEB8688-B541-8943-85A2-0BB97A624692}" srcOrd="1" destOrd="0" presId="urn:microsoft.com/office/officeart/2005/8/layout/bProcess4"/>
    <dgm:cxn modelId="{64FF1D19-9E9D-624E-8D97-DD7838B9F18E}" type="presParOf" srcId="{02010AC4-92BD-CD44-A373-7BCEE2917180}" destId="{3CC79340-D8E1-2A49-86C9-A98BE38732A1}" srcOrd="2" destOrd="0" presId="urn:microsoft.com/office/officeart/2005/8/layout/bProcess4"/>
    <dgm:cxn modelId="{5E902956-40B6-5F4D-BE4C-FA860B75B333}" type="presParOf" srcId="{3CC79340-D8E1-2A49-86C9-A98BE38732A1}" destId="{0CDD6FA9-3CBD-FD42-A2EE-55F5073AE188}" srcOrd="0" destOrd="0" presId="urn:microsoft.com/office/officeart/2005/8/layout/bProcess4"/>
    <dgm:cxn modelId="{8D984496-D730-1B4C-8303-9B6E448DD46F}" type="presParOf" srcId="{3CC79340-D8E1-2A49-86C9-A98BE38732A1}" destId="{35069B0B-156B-9845-B856-833E2010C676}" srcOrd="1" destOrd="0" presId="urn:microsoft.com/office/officeart/2005/8/layout/bProcess4"/>
    <dgm:cxn modelId="{C45B2D59-BB83-8947-AE1E-880E2098ECC9}" type="presParOf" srcId="{02010AC4-92BD-CD44-A373-7BCEE2917180}" destId="{A2A06673-3EB0-5749-94CA-D3749D4DB1D7}" srcOrd="3" destOrd="0" presId="urn:microsoft.com/office/officeart/2005/8/layout/bProcess4"/>
    <dgm:cxn modelId="{837B2E1D-CB5C-4146-B276-E482ABE1B08C}" type="presParOf" srcId="{02010AC4-92BD-CD44-A373-7BCEE2917180}" destId="{20644D3D-F044-6044-BB89-2967E0356D7A}" srcOrd="4" destOrd="0" presId="urn:microsoft.com/office/officeart/2005/8/layout/bProcess4"/>
    <dgm:cxn modelId="{65AA9722-8C1B-274B-9D99-2DAAC12A94D0}" type="presParOf" srcId="{20644D3D-F044-6044-BB89-2967E0356D7A}" destId="{0BF899C3-C73C-DE45-AD10-4ACCF1443AF8}" srcOrd="0" destOrd="0" presId="urn:microsoft.com/office/officeart/2005/8/layout/bProcess4"/>
    <dgm:cxn modelId="{B58466E7-6B16-7448-836C-0AED064E25FC}" type="presParOf" srcId="{20644D3D-F044-6044-BB89-2967E0356D7A}" destId="{11CD14F4-9EBA-1F42-A08F-892461D29BE5}" srcOrd="1" destOrd="0" presId="urn:microsoft.com/office/officeart/2005/8/layout/bProcess4"/>
    <dgm:cxn modelId="{188B4214-F712-9D4B-9342-3570B7FE8B4C}" type="presParOf" srcId="{02010AC4-92BD-CD44-A373-7BCEE2917180}" destId="{36A0DD0B-D22F-7646-9CF5-202D3F018BDE}" srcOrd="5" destOrd="0" presId="urn:microsoft.com/office/officeart/2005/8/layout/bProcess4"/>
    <dgm:cxn modelId="{3D9C07D1-9C8C-9944-B97C-09398AF97B66}" type="presParOf" srcId="{02010AC4-92BD-CD44-A373-7BCEE2917180}" destId="{A7BEB207-01BD-D74F-9FF8-BED02A662974}" srcOrd="6" destOrd="0" presId="urn:microsoft.com/office/officeart/2005/8/layout/bProcess4"/>
    <dgm:cxn modelId="{9D46C9EF-0241-864B-88FC-70EAC32BE28A}" type="presParOf" srcId="{A7BEB207-01BD-D74F-9FF8-BED02A662974}" destId="{237CF9E3-921B-4C42-84B9-55ECB34CA0EC}" srcOrd="0" destOrd="0" presId="urn:microsoft.com/office/officeart/2005/8/layout/bProcess4"/>
    <dgm:cxn modelId="{54FDF3C0-B75D-BF40-9836-F526C87E8A3D}" type="presParOf" srcId="{A7BEB207-01BD-D74F-9FF8-BED02A662974}" destId="{2B6F55DF-887A-A543-B681-046BF4E8793D}" srcOrd="1" destOrd="0" presId="urn:microsoft.com/office/officeart/2005/8/layout/bProcess4"/>
    <dgm:cxn modelId="{37A9F05E-7B79-A240-8C16-2F02AD67B340}" type="presParOf" srcId="{02010AC4-92BD-CD44-A373-7BCEE2917180}" destId="{C0AC413A-F1DB-3C4E-88D5-B0833477FC39}" srcOrd="7" destOrd="0" presId="urn:microsoft.com/office/officeart/2005/8/layout/bProcess4"/>
    <dgm:cxn modelId="{989A7E68-E02B-0D4D-8FB8-CD3FCCAB5C7E}" type="presParOf" srcId="{02010AC4-92BD-CD44-A373-7BCEE2917180}" destId="{F8AE21E8-36E0-4244-A04B-0DE9AB808D7A}" srcOrd="8" destOrd="0" presId="urn:microsoft.com/office/officeart/2005/8/layout/bProcess4"/>
    <dgm:cxn modelId="{18AA9158-5D5A-244D-AD98-1D95D1CEED4D}" type="presParOf" srcId="{F8AE21E8-36E0-4244-A04B-0DE9AB808D7A}" destId="{D7AEF0FF-724B-F645-BB5C-649000A908CB}" srcOrd="0" destOrd="0" presId="urn:microsoft.com/office/officeart/2005/8/layout/bProcess4"/>
    <dgm:cxn modelId="{BABF4F9C-D259-1C40-B835-96F76C012FAB}" type="presParOf" srcId="{F8AE21E8-36E0-4244-A04B-0DE9AB808D7A}" destId="{FA97D9AC-9829-C247-9ACF-B9BE4ED9F988}" srcOrd="1" destOrd="0" presId="urn:microsoft.com/office/officeart/2005/8/layout/bProcess4"/>
    <dgm:cxn modelId="{A351F120-3BCD-7B4A-A181-F394BA8A4667}" type="presParOf" srcId="{02010AC4-92BD-CD44-A373-7BCEE2917180}" destId="{E2618D6B-8F44-3B44-A949-DF332087A83D}" srcOrd="9" destOrd="0" presId="urn:microsoft.com/office/officeart/2005/8/layout/bProcess4"/>
    <dgm:cxn modelId="{84ADA794-2BE6-2643-9DDB-988044EE2A6B}" type="presParOf" srcId="{02010AC4-92BD-CD44-A373-7BCEE2917180}" destId="{DCFE1CA2-8FE1-2A4B-85CF-0C51A44D8211}" srcOrd="10" destOrd="0" presId="urn:microsoft.com/office/officeart/2005/8/layout/bProcess4"/>
    <dgm:cxn modelId="{733D20DB-5E30-DD40-AFE7-612438F5B563}" type="presParOf" srcId="{DCFE1CA2-8FE1-2A4B-85CF-0C51A44D8211}" destId="{F25296FA-B5AC-9342-B79E-3D66800714B2}" srcOrd="0" destOrd="0" presId="urn:microsoft.com/office/officeart/2005/8/layout/bProcess4"/>
    <dgm:cxn modelId="{893CB9B4-0A6C-474C-A282-D28231121288}" type="presParOf" srcId="{DCFE1CA2-8FE1-2A4B-85CF-0C51A44D8211}" destId="{B14AD961-5791-2B41-B695-85C0E19B372E}" srcOrd="1" destOrd="0" presId="urn:microsoft.com/office/officeart/2005/8/layout/bProcess4"/>
    <dgm:cxn modelId="{83649CCC-2B8F-2943-AF9A-984A68F1F3C0}" type="presParOf" srcId="{02010AC4-92BD-CD44-A373-7BCEE2917180}" destId="{0F04647C-5A0C-D04A-832C-1A08A5783F6A}" srcOrd="11" destOrd="0" presId="urn:microsoft.com/office/officeart/2005/8/layout/bProcess4"/>
    <dgm:cxn modelId="{897C5162-37C5-AF45-A2DE-B1B8369AB9EE}" type="presParOf" srcId="{02010AC4-92BD-CD44-A373-7BCEE2917180}" destId="{FE21428F-0390-E746-AABA-3827F2A3F153}" srcOrd="12" destOrd="0" presId="urn:microsoft.com/office/officeart/2005/8/layout/bProcess4"/>
    <dgm:cxn modelId="{1614618B-B5BF-2342-AE73-0F177A6C5DC5}" type="presParOf" srcId="{FE21428F-0390-E746-AABA-3827F2A3F153}" destId="{845AA5BA-4959-E14F-AC68-0A29F54524D5}" srcOrd="0" destOrd="0" presId="urn:microsoft.com/office/officeart/2005/8/layout/bProcess4"/>
    <dgm:cxn modelId="{50B0DE7C-9524-D14E-B909-06118FEA1BD5}" type="presParOf" srcId="{FE21428F-0390-E746-AABA-3827F2A3F153}" destId="{7833E341-84B3-CA44-8B5B-99BDB0FBF30E}" srcOrd="1" destOrd="0" presId="urn:microsoft.com/office/officeart/2005/8/layout/bProcess4"/>
    <dgm:cxn modelId="{F4D3D465-01AC-1D47-A1EE-B16204FE44DB}" type="presParOf" srcId="{02010AC4-92BD-CD44-A373-7BCEE2917180}" destId="{E77299CF-86C6-7C49-B84E-DF628288E504}" srcOrd="13" destOrd="0" presId="urn:microsoft.com/office/officeart/2005/8/layout/bProcess4"/>
    <dgm:cxn modelId="{A5DAAC44-8202-F446-9181-9E5DDEA6D7D4}" type="presParOf" srcId="{02010AC4-92BD-CD44-A373-7BCEE2917180}" destId="{0DCBA303-9BED-7543-BF37-A92715BD3524}" srcOrd="14" destOrd="0" presId="urn:microsoft.com/office/officeart/2005/8/layout/bProcess4"/>
    <dgm:cxn modelId="{0C741D73-60C1-AA45-A617-9BF481FFD399}" type="presParOf" srcId="{0DCBA303-9BED-7543-BF37-A92715BD3524}" destId="{A8AA6C93-3C6C-2449-BFC3-DD6FB15476A6}" srcOrd="0" destOrd="0" presId="urn:microsoft.com/office/officeart/2005/8/layout/bProcess4"/>
    <dgm:cxn modelId="{42CD4D96-53C8-1C4E-9038-2C33075801AF}" type="presParOf" srcId="{0DCBA303-9BED-7543-BF37-A92715BD3524}" destId="{6FB86309-52FE-E043-919B-0563669DBD6D}" srcOrd="1" destOrd="0" presId="urn:microsoft.com/office/officeart/2005/8/layout/bProcess4"/>
    <dgm:cxn modelId="{C428E0A6-BD79-7246-8378-045A175FFF72}" type="presParOf" srcId="{02010AC4-92BD-CD44-A373-7BCEE2917180}" destId="{3C6A7C76-F73F-5744-BD67-A99F7D1FD5EF}" srcOrd="15" destOrd="0" presId="urn:microsoft.com/office/officeart/2005/8/layout/bProcess4"/>
    <dgm:cxn modelId="{C142EF52-DA15-CD4D-A704-5470E2AEF421}" type="presParOf" srcId="{02010AC4-92BD-CD44-A373-7BCEE2917180}" destId="{07391878-89E8-AD44-AA73-AA050F9D8424}" srcOrd="16" destOrd="0" presId="urn:microsoft.com/office/officeart/2005/8/layout/bProcess4"/>
    <dgm:cxn modelId="{60D59643-5F8D-C443-9D4D-5978E0FA4A10}" type="presParOf" srcId="{07391878-89E8-AD44-AA73-AA050F9D8424}" destId="{2851575C-F951-124D-A015-8B1C85597B75}" srcOrd="0" destOrd="0" presId="urn:microsoft.com/office/officeart/2005/8/layout/bProcess4"/>
    <dgm:cxn modelId="{326175B8-4A85-5B4A-8105-E974E9EDBB5C}" type="presParOf" srcId="{07391878-89E8-AD44-AA73-AA050F9D8424}" destId="{663423EF-CA9B-A741-91DF-3C8FD56CF154}" srcOrd="1" destOrd="0" presId="urn:microsoft.com/office/officeart/2005/8/layout/bProcess4"/>
    <dgm:cxn modelId="{B4778B96-FBBB-7544-89CA-E4B136D024A9}" type="presParOf" srcId="{02010AC4-92BD-CD44-A373-7BCEE2917180}" destId="{9417C43E-59C5-BF46-AD5C-9EFB6F8FD81F}" srcOrd="17" destOrd="0" presId="urn:microsoft.com/office/officeart/2005/8/layout/bProcess4"/>
    <dgm:cxn modelId="{D697D825-3C14-AB40-8588-2065B7B8EBD0}" type="presParOf" srcId="{02010AC4-92BD-CD44-A373-7BCEE2917180}" destId="{2D96AF98-97CF-814B-A937-3F674D1D1009}" srcOrd="18" destOrd="0" presId="urn:microsoft.com/office/officeart/2005/8/layout/bProcess4"/>
    <dgm:cxn modelId="{9E68701F-6D26-AC41-93A1-4EC5439BC150}" type="presParOf" srcId="{2D96AF98-97CF-814B-A937-3F674D1D1009}" destId="{E45C9D20-02F5-004D-80C9-0DC3C17BF617}" srcOrd="0" destOrd="0" presId="urn:microsoft.com/office/officeart/2005/8/layout/bProcess4"/>
    <dgm:cxn modelId="{BAEAB5D9-EE74-D544-BBA8-9D8CE7C380A3}" type="presParOf" srcId="{2D96AF98-97CF-814B-A937-3F674D1D1009}" destId="{9035E330-481F-494E-A000-E0D5B39D93E0}" srcOrd="1" destOrd="0" presId="urn:microsoft.com/office/officeart/2005/8/layout/bProcess4"/>
    <dgm:cxn modelId="{D75E741B-DCAA-BF40-ACBC-6D5ACDBCABD1}" type="presParOf" srcId="{02010AC4-92BD-CD44-A373-7BCEE2917180}" destId="{6C04D6CB-372E-AD41-9B72-AAC9469F9D50}" srcOrd="19" destOrd="0" presId="urn:microsoft.com/office/officeart/2005/8/layout/bProcess4"/>
    <dgm:cxn modelId="{8398B6AA-C5B0-5B46-868D-D7CCE278ED27}" type="presParOf" srcId="{02010AC4-92BD-CD44-A373-7BCEE2917180}" destId="{CD3BE3A7-26FE-0441-B4F5-9379BF310568}" srcOrd="20" destOrd="0" presId="urn:microsoft.com/office/officeart/2005/8/layout/bProcess4"/>
    <dgm:cxn modelId="{B1545976-4C1F-BF45-9D46-1282AD48C4E7}" type="presParOf" srcId="{CD3BE3A7-26FE-0441-B4F5-9379BF310568}" destId="{592BBAD7-BE0B-CA4E-9D44-654750DFE8D4}" srcOrd="0" destOrd="0" presId="urn:microsoft.com/office/officeart/2005/8/layout/bProcess4"/>
    <dgm:cxn modelId="{D03D2232-3CDE-0E49-AA09-AC45DF5082FC}" type="presParOf" srcId="{CD3BE3A7-26FE-0441-B4F5-9379BF310568}" destId="{40980663-D43C-B843-A1A8-31318195C75C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A5C5CA7-AE1C-4134-8811-12280C666431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accent4_2" csCatId="accent4" phldr="1"/>
      <dgm:spPr/>
      <dgm:t>
        <a:bodyPr/>
        <a:lstStyle/>
        <a:p>
          <a:endParaRPr lang="en-US"/>
        </a:p>
      </dgm:t>
    </dgm:pt>
    <dgm:pt modelId="{B9AEEDBD-522D-48B8-8D07-CE7F2C2B3473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/>
            <a:t>Software &amp; ICT skills</a:t>
          </a:r>
          <a:endParaRPr lang="en-US"/>
        </a:p>
      </dgm:t>
    </dgm:pt>
    <dgm:pt modelId="{C3287BBA-8C31-4A5C-87CA-F92560CB2EBD}" type="parTrans" cxnId="{21B9B2C3-7CB1-4C2C-B7BB-C050AF6AF58D}">
      <dgm:prSet/>
      <dgm:spPr/>
      <dgm:t>
        <a:bodyPr/>
        <a:lstStyle/>
        <a:p>
          <a:endParaRPr lang="en-US"/>
        </a:p>
      </dgm:t>
    </dgm:pt>
    <dgm:pt modelId="{7C0D988D-417B-47DA-AFF3-53D1CAF6AB26}" type="sibTrans" cxnId="{21B9B2C3-7CB1-4C2C-B7BB-C050AF6AF58D}">
      <dgm:prSet/>
      <dgm:spPr/>
      <dgm:t>
        <a:bodyPr/>
        <a:lstStyle/>
        <a:p>
          <a:endParaRPr lang="en-US"/>
        </a:p>
      </dgm:t>
    </dgm:pt>
    <dgm:pt modelId="{616BA953-15CB-4E40-A412-40073C8BAD05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/>
            <a:t>Diversity in teams</a:t>
          </a:r>
          <a:endParaRPr lang="en-US" dirty="0"/>
        </a:p>
      </dgm:t>
    </dgm:pt>
    <dgm:pt modelId="{82832AE6-2729-4012-B4FE-C2B9495DC5C2}" type="parTrans" cxnId="{CD83568B-06F2-402D-A644-1500368D528B}">
      <dgm:prSet/>
      <dgm:spPr/>
      <dgm:t>
        <a:bodyPr/>
        <a:lstStyle/>
        <a:p>
          <a:endParaRPr lang="en-US"/>
        </a:p>
      </dgm:t>
    </dgm:pt>
    <dgm:pt modelId="{724DE97E-D40A-4407-BF22-6DBF6E5C5CFF}" type="sibTrans" cxnId="{CD83568B-06F2-402D-A644-1500368D528B}">
      <dgm:prSet/>
      <dgm:spPr/>
      <dgm:t>
        <a:bodyPr/>
        <a:lstStyle/>
        <a:p>
          <a:endParaRPr lang="en-US"/>
        </a:p>
      </dgm:t>
    </dgm:pt>
    <dgm:pt modelId="{F436C68A-7E9A-440A-BDC7-5EE5C9C7FA91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Experience, short to have seen it all</a:t>
          </a:r>
          <a:endParaRPr lang="en-US" dirty="0"/>
        </a:p>
      </dgm:t>
    </dgm:pt>
    <dgm:pt modelId="{B239B838-01E7-4294-A52D-E86851DF67D5}" type="parTrans" cxnId="{162E19D3-BE28-45AF-8342-024E505D4A19}">
      <dgm:prSet/>
      <dgm:spPr/>
      <dgm:t>
        <a:bodyPr/>
        <a:lstStyle/>
        <a:p>
          <a:endParaRPr lang="en-US"/>
        </a:p>
      </dgm:t>
    </dgm:pt>
    <dgm:pt modelId="{F102DE90-38E5-42A2-9767-FCD51E4DDC36}" type="sibTrans" cxnId="{162E19D3-BE28-45AF-8342-024E505D4A19}">
      <dgm:prSet/>
      <dgm:spPr/>
      <dgm:t>
        <a:bodyPr/>
        <a:lstStyle/>
        <a:p>
          <a:endParaRPr lang="en-US"/>
        </a:p>
      </dgm:t>
    </dgm:pt>
    <dgm:pt modelId="{ED2B1F7F-F494-45B9-95A0-CA55AA12283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Females, males, any other</a:t>
          </a:r>
          <a:endParaRPr lang="en-US" dirty="0"/>
        </a:p>
      </dgm:t>
    </dgm:pt>
    <dgm:pt modelId="{CE3F79F1-117D-4276-867F-090D484077AB}" type="parTrans" cxnId="{1F9E919F-54AF-4B74-BE5F-9856F5240657}">
      <dgm:prSet/>
      <dgm:spPr/>
      <dgm:t>
        <a:bodyPr/>
        <a:lstStyle/>
        <a:p>
          <a:endParaRPr lang="en-US"/>
        </a:p>
      </dgm:t>
    </dgm:pt>
    <dgm:pt modelId="{544E1CB2-DF61-44CC-8B4A-79E13DA5CC2D}" type="sibTrans" cxnId="{1F9E919F-54AF-4B74-BE5F-9856F5240657}">
      <dgm:prSet/>
      <dgm:spPr/>
      <dgm:t>
        <a:bodyPr/>
        <a:lstStyle/>
        <a:p>
          <a:endParaRPr lang="en-US"/>
        </a:p>
      </dgm:t>
    </dgm:pt>
    <dgm:pt modelId="{7274051C-689F-4C11-B393-07EC5111B73B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Global, Local</a:t>
          </a:r>
          <a:endParaRPr lang="en-US" dirty="0"/>
        </a:p>
      </dgm:t>
    </dgm:pt>
    <dgm:pt modelId="{51CA39DD-0BD1-4CDA-B3DB-A4F1A736051F}" type="parTrans" cxnId="{122A5A08-B06F-4F02-95E9-C34E7208407C}">
      <dgm:prSet/>
      <dgm:spPr/>
      <dgm:t>
        <a:bodyPr/>
        <a:lstStyle/>
        <a:p>
          <a:endParaRPr lang="en-US"/>
        </a:p>
      </dgm:t>
    </dgm:pt>
    <dgm:pt modelId="{A98F66B1-4A1A-4402-8117-E5BD3F62BCC1}" type="sibTrans" cxnId="{122A5A08-B06F-4F02-95E9-C34E7208407C}">
      <dgm:prSet/>
      <dgm:spPr/>
      <dgm:t>
        <a:bodyPr/>
        <a:lstStyle/>
        <a:p>
          <a:endParaRPr lang="en-US"/>
        </a:p>
      </dgm:t>
    </dgm:pt>
    <dgm:pt modelId="{B1B4CB46-432C-4CED-B4B9-52542D44775A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/>
            <a:t>How:</a:t>
          </a:r>
          <a:endParaRPr lang="en-US"/>
        </a:p>
      </dgm:t>
    </dgm:pt>
    <dgm:pt modelId="{2C76A930-FBEF-4B49-8EC5-424C811A83F1}" type="parTrans" cxnId="{AC09B681-BD50-459F-AB66-3782751144FF}">
      <dgm:prSet/>
      <dgm:spPr/>
      <dgm:t>
        <a:bodyPr/>
        <a:lstStyle/>
        <a:p>
          <a:endParaRPr lang="en-US"/>
        </a:p>
      </dgm:t>
    </dgm:pt>
    <dgm:pt modelId="{F4C7464F-563E-4055-B2C6-43B1CAC3D62F}" type="sibTrans" cxnId="{AC09B681-BD50-459F-AB66-3782751144FF}">
      <dgm:prSet/>
      <dgm:spPr/>
      <dgm:t>
        <a:bodyPr/>
        <a:lstStyle/>
        <a:p>
          <a:endParaRPr lang="en-US"/>
        </a:p>
      </dgm:t>
    </dgm:pt>
    <dgm:pt modelId="{9D5EAB3D-F02A-454F-80AA-61F96F2BDBEB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Grow - different doing paths. Think long term – rotate</a:t>
          </a:r>
        </a:p>
        <a:p>
          <a:pPr>
            <a:lnSpc>
              <a:spcPct val="100000"/>
            </a:lnSpc>
          </a:pPr>
          <a:r>
            <a:rPr lang="en-GB" dirty="0"/>
            <a:t>Support and work together with learning institutions</a:t>
          </a:r>
          <a:endParaRPr lang="en-US" dirty="0"/>
        </a:p>
      </dgm:t>
    </dgm:pt>
    <dgm:pt modelId="{DB300381-1C7C-4C6B-9E56-BB247E2FC095}" type="parTrans" cxnId="{127FAFDC-8315-48E8-B808-D1B1E66090C2}">
      <dgm:prSet/>
      <dgm:spPr/>
      <dgm:t>
        <a:bodyPr/>
        <a:lstStyle/>
        <a:p>
          <a:endParaRPr lang="en-US"/>
        </a:p>
      </dgm:t>
    </dgm:pt>
    <dgm:pt modelId="{2EB999F2-A4AA-446A-B2F2-B618769DDB6A}" type="sibTrans" cxnId="{127FAFDC-8315-48E8-B808-D1B1E66090C2}">
      <dgm:prSet/>
      <dgm:spPr/>
      <dgm:t>
        <a:bodyPr/>
        <a:lstStyle/>
        <a:p>
          <a:endParaRPr lang="en-US"/>
        </a:p>
      </dgm:t>
    </dgm:pt>
    <dgm:pt modelId="{BD288622-1CCC-44BF-8E7C-DFD44024C496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Hire young – Hire existing talent – the balance</a:t>
          </a:r>
        </a:p>
      </dgm:t>
    </dgm:pt>
    <dgm:pt modelId="{CA5ECE84-5FEF-4CF9-8E8A-B3F77AA1CAAC}" type="parTrans" cxnId="{90F65D3C-7FF2-429C-900D-2DDD647EFEB2}">
      <dgm:prSet/>
      <dgm:spPr/>
      <dgm:t>
        <a:bodyPr/>
        <a:lstStyle/>
        <a:p>
          <a:endParaRPr lang="en-US"/>
        </a:p>
      </dgm:t>
    </dgm:pt>
    <dgm:pt modelId="{5F74BF6A-52C8-4488-9F8D-884219C91A41}" type="sibTrans" cxnId="{90F65D3C-7FF2-429C-900D-2DDD647EFEB2}">
      <dgm:prSet/>
      <dgm:spPr/>
      <dgm:t>
        <a:bodyPr/>
        <a:lstStyle/>
        <a:p>
          <a:endParaRPr lang="en-US"/>
        </a:p>
      </dgm:t>
    </dgm:pt>
    <dgm:pt modelId="{191449EF-41CB-4D97-8DCD-ADA319922F3E}" type="pres">
      <dgm:prSet presAssocID="{9A5C5CA7-AE1C-4134-8811-12280C666431}" presName="root" presStyleCnt="0">
        <dgm:presLayoutVars>
          <dgm:dir/>
          <dgm:resizeHandles val="exact"/>
        </dgm:presLayoutVars>
      </dgm:prSet>
      <dgm:spPr/>
    </dgm:pt>
    <dgm:pt modelId="{AD5F4F99-4431-4E98-96A2-EDEF5CBBC255}" type="pres">
      <dgm:prSet presAssocID="{B9AEEDBD-522D-48B8-8D07-CE7F2C2B3473}" presName="compNode" presStyleCnt="0"/>
      <dgm:spPr/>
    </dgm:pt>
    <dgm:pt modelId="{C6D3E28F-66ED-4430-9F23-E2E750C1905A}" type="pres">
      <dgm:prSet presAssocID="{B9AEEDBD-522D-48B8-8D07-CE7F2C2B3473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mputer"/>
        </a:ext>
      </dgm:extLst>
    </dgm:pt>
    <dgm:pt modelId="{C7F3A578-0B65-4B0F-8C0E-9BFCE4EB2A74}" type="pres">
      <dgm:prSet presAssocID="{B9AEEDBD-522D-48B8-8D07-CE7F2C2B3473}" presName="iconSpace" presStyleCnt="0"/>
      <dgm:spPr/>
    </dgm:pt>
    <dgm:pt modelId="{9A1C80D7-881F-4DD2-BB15-426C9A2EE050}" type="pres">
      <dgm:prSet presAssocID="{B9AEEDBD-522D-48B8-8D07-CE7F2C2B3473}" presName="parTx" presStyleLbl="revTx" presStyleIdx="0" presStyleCnt="6">
        <dgm:presLayoutVars>
          <dgm:chMax val="0"/>
          <dgm:chPref val="0"/>
        </dgm:presLayoutVars>
      </dgm:prSet>
      <dgm:spPr/>
    </dgm:pt>
    <dgm:pt modelId="{EE4F84BE-EEB5-4991-9DA4-353627E9DC3A}" type="pres">
      <dgm:prSet presAssocID="{B9AEEDBD-522D-48B8-8D07-CE7F2C2B3473}" presName="txSpace" presStyleCnt="0"/>
      <dgm:spPr/>
    </dgm:pt>
    <dgm:pt modelId="{A16FEF08-AB20-4A12-B0DD-885983425DD0}" type="pres">
      <dgm:prSet presAssocID="{B9AEEDBD-522D-48B8-8D07-CE7F2C2B3473}" presName="desTx" presStyleLbl="revTx" presStyleIdx="1" presStyleCnt="6">
        <dgm:presLayoutVars/>
      </dgm:prSet>
      <dgm:spPr/>
    </dgm:pt>
    <dgm:pt modelId="{176F12E7-0994-4DEB-A55A-68FEE04D173C}" type="pres">
      <dgm:prSet presAssocID="{7C0D988D-417B-47DA-AFF3-53D1CAF6AB26}" presName="sibTrans" presStyleCnt="0"/>
      <dgm:spPr/>
    </dgm:pt>
    <dgm:pt modelId="{41D46860-8314-4F2D-ABBE-BE5ACE7FB9DA}" type="pres">
      <dgm:prSet presAssocID="{616BA953-15CB-4E40-A412-40073C8BAD05}" presName="compNode" presStyleCnt="0"/>
      <dgm:spPr/>
    </dgm:pt>
    <dgm:pt modelId="{353A2F9E-9A72-440F-ADF9-2E92EBF8DA6A}" type="pres">
      <dgm:prSet presAssocID="{616BA953-15CB-4E40-A412-40073C8BAD05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keleton"/>
        </a:ext>
      </dgm:extLst>
    </dgm:pt>
    <dgm:pt modelId="{B6D41736-8628-473C-BCAB-9917EF4685C7}" type="pres">
      <dgm:prSet presAssocID="{616BA953-15CB-4E40-A412-40073C8BAD05}" presName="iconSpace" presStyleCnt="0"/>
      <dgm:spPr/>
    </dgm:pt>
    <dgm:pt modelId="{616F37C7-5710-4A43-87FE-F70940F549BE}" type="pres">
      <dgm:prSet presAssocID="{616BA953-15CB-4E40-A412-40073C8BAD05}" presName="parTx" presStyleLbl="revTx" presStyleIdx="2" presStyleCnt="6">
        <dgm:presLayoutVars>
          <dgm:chMax val="0"/>
          <dgm:chPref val="0"/>
        </dgm:presLayoutVars>
      </dgm:prSet>
      <dgm:spPr/>
    </dgm:pt>
    <dgm:pt modelId="{87486A2F-B51D-40F0-9FBA-E187B799B830}" type="pres">
      <dgm:prSet presAssocID="{616BA953-15CB-4E40-A412-40073C8BAD05}" presName="txSpace" presStyleCnt="0"/>
      <dgm:spPr/>
    </dgm:pt>
    <dgm:pt modelId="{B09CB533-5EC3-410D-AB46-E71343AACD2B}" type="pres">
      <dgm:prSet presAssocID="{616BA953-15CB-4E40-A412-40073C8BAD05}" presName="desTx" presStyleLbl="revTx" presStyleIdx="3" presStyleCnt="6">
        <dgm:presLayoutVars/>
      </dgm:prSet>
      <dgm:spPr/>
    </dgm:pt>
    <dgm:pt modelId="{72D1864C-59C2-48E1-9757-EAB2006BD872}" type="pres">
      <dgm:prSet presAssocID="{724DE97E-D40A-4407-BF22-6DBF6E5C5CFF}" presName="sibTrans" presStyleCnt="0"/>
      <dgm:spPr/>
    </dgm:pt>
    <dgm:pt modelId="{5BB24625-8E54-4E22-9328-466A49ADA889}" type="pres">
      <dgm:prSet presAssocID="{B1B4CB46-432C-4CED-B4B9-52542D44775A}" presName="compNode" presStyleCnt="0"/>
      <dgm:spPr/>
    </dgm:pt>
    <dgm:pt modelId="{0F7B80D9-9B73-4015-AF4F-0BD783C4E57F}" type="pres">
      <dgm:prSet presAssocID="{B1B4CB46-432C-4CED-B4B9-52542D44775A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elder"/>
        </a:ext>
      </dgm:extLst>
    </dgm:pt>
    <dgm:pt modelId="{1EAF6D93-8E48-48A1-AE75-F54D7DF984A1}" type="pres">
      <dgm:prSet presAssocID="{B1B4CB46-432C-4CED-B4B9-52542D44775A}" presName="iconSpace" presStyleCnt="0"/>
      <dgm:spPr/>
    </dgm:pt>
    <dgm:pt modelId="{DF222537-EF68-4F38-B7EB-F496303C1D16}" type="pres">
      <dgm:prSet presAssocID="{B1B4CB46-432C-4CED-B4B9-52542D44775A}" presName="parTx" presStyleLbl="revTx" presStyleIdx="4" presStyleCnt="6">
        <dgm:presLayoutVars>
          <dgm:chMax val="0"/>
          <dgm:chPref val="0"/>
        </dgm:presLayoutVars>
      </dgm:prSet>
      <dgm:spPr/>
    </dgm:pt>
    <dgm:pt modelId="{8D909812-9384-4096-B6EE-415FDB757B71}" type="pres">
      <dgm:prSet presAssocID="{B1B4CB46-432C-4CED-B4B9-52542D44775A}" presName="txSpace" presStyleCnt="0"/>
      <dgm:spPr/>
    </dgm:pt>
    <dgm:pt modelId="{DF5C221C-E912-4B94-BCD3-94635060BF63}" type="pres">
      <dgm:prSet presAssocID="{B1B4CB46-432C-4CED-B4B9-52542D44775A}" presName="desTx" presStyleLbl="revTx" presStyleIdx="5" presStyleCnt="6">
        <dgm:presLayoutVars/>
      </dgm:prSet>
      <dgm:spPr/>
    </dgm:pt>
  </dgm:ptLst>
  <dgm:cxnLst>
    <dgm:cxn modelId="{01FB7800-3CBB-0B4A-AB41-FFCEB2061694}" type="presOf" srcId="{9A5C5CA7-AE1C-4134-8811-12280C666431}" destId="{191449EF-41CB-4D97-8DCD-ADA319922F3E}" srcOrd="0" destOrd="0" presId="urn:microsoft.com/office/officeart/2018/5/layout/CenteredIconLabelDescriptionList"/>
    <dgm:cxn modelId="{122A5A08-B06F-4F02-95E9-C34E7208407C}" srcId="{616BA953-15CB-4E40-A412-40073C8BAD05}" destId="{7274051C-689F-4C11-B393-07EC5111B73B}" srcOrd="2" destOrd="0" parTransId="{51CA39DD-0BD1-4CDA-B3DB-A4F1A736051F}" sibTransId="{A98F66B1-4A1A-4402-8117-E5BD3F62BCC1}"/>
    <dgm:cxn modelId="{B1C96009-3AD0-A742-BA88-19FF55E1C846}" type="presOf" srcId="{9D5EAB3D-F02A-454F-80AA-61F96F2BDBEB}" destId="{DF5C221C-E912-4B94-BCD3-94635060BF63}" srcOrd="0" destOrd="0" presId="urn:microsoft.com/office/officeart/2018/5/layout/CenteredIconLabelDescriptionList"/>
    <dgm:cxn modelId="{90F65D3C-7FF2-429C-900D-2DDD647EFEB2}" srcId="{B1B4CB46-432C-4CED-B4B9-52542D44775A}" destId="{BD288622-1CCC-44BF-8E7C-DFD44024C496}" srcOrd="1" destOrd="0" parTransId="{CA5ECE84-5FEF-4CF9-8E8A-B3F77AA1CAAC}" sibTransId="{5F74BF6A-52C8-4488-9F8D-884219C91A41}"/>
    <dgm:cxn modelId="{C02C4B3F-759A-2945-84B7-23B6B2540AD2}" type="presOf" srcId="{B9AEEDBD-522D-48B8-8D07-CE7F2C2B3473}" destId="{9A1C80D7-881F-4DD2-BB15-426C9A2EE050}" srcOrd="0" destOrd="0" presId="urn:microsoft.com/office/officeart/2018/5/layout/CenteredIconLabelDescriptionList"/>
    <dgm:cxn modelId="{45146866-AE33-6B4A-B0CF-D5D4E24DCAF5}" type="presOf" srcId="{BD288622-1CCC-44BF-8E7C-DFD44024C496}" destId="{DF5C221C-E912-4B94-BCD3-94635060BF63}" srcOrd="0" destOrd="1" presId="urn:microsoft.com/office/officeart/2018/5/layout/CenteredIconLabelDescriptionList"/>
    <dgm:cxn modelId="{D7277E66-68AD-BD49-ADE4-A1FCD3CC1F0D}" type="presOf" srcId="{B1B4CB46-432C-4CED-B4B9-52542D44775A}" destId="{DF222537-EF68-4F38-B7EB-F496303C1D16}" srcOrd="0" destOrd="0" presId="urn:microsoft.com/office/officeart/2018/5/layout/CenteredIconLabelDescriptionList"/>
    <dgm:cxn modelId="{CAFE6E6F-8C2E-EF44-B33C-884CBD34783E}" type="presOf" srcId="{7274051C-689F-4C11-B393-07EC5111B73B}" destId="{B09CB533-5EC3-410D-AB46-E71343AACD2B}" srcOrd="0" destOrd="2" presId="urn:microsoft.com/office/officeart/2018/5/layout/CenteredIconLabelDescriptionList"/>
    <dgm:cxn modelId="{3D3AA87F-BA52-1B48-8F53-F1F0D337F865}" type="presOf" srcId="{616BA953-15CB-4E40-A412-40073C8BAD05}" destId="{616F37C7-5710-4A43-87FE-F70940F549BE}" srcOrd="0" destOrd="0" presId="urn:microsoft.com/office/officeart/2018/5/layout/CenteredIconLabelDescriptionList"/>
    <dgm:cxn modelId="{AC09B681-BD50-459F-AB66-3782751144FF}" srcId="{9A5C5CA7-AE1C-4134-8811-12280C666431}" destId="{B1B4CB46-432C-4CED-B4B9-52542D44775A}" srcOrd="2" destOrd="0" parTransId="{2C76A930-FBEF-4B49-8EC5-424C811A83F1}" sibTransId="{F4C7464F-563E-4055-B2C6-43B1CAC3D62F}"/>
    <dgm:cxn modelId="{CD83568B-06F2-402D-A644-1500368D528B}" srcId="{9A5C5CA7-AE1C-4134-8811-12280C666431}" destId="{616BA953-15CB-4E40-A412-40073C8BAD05}" srcOrd="1" destOrd="0" parTransId="{82832AE6-2729-4012-B4FE-C2B9495DC5C2}" sibTransId="{724DE97E-D40A-4407-BF22-6DBF6E5C5CFF}"/>
    <dgm:cxn modelId="{1F9E919F-54AF-4B74-BE5F-9856F5240657}" srcId="{616BA953-15CB-4E40-A412-40073C8BAD05}" destId="{ED2B1F7F-F494-45B9-95A0-CA55AA12283C}" srcOrd="1" destOrd="0" parTransId="{CE3F79F1-117D-4276-867F-090D484077AB}" sibTransId="{544E1CB2-DF61-44CC-8B4A-79E13DA5CC2D}"/>
    <dgm:cxn modelId="{37A436B5-E68B-A446-943F-B2AD2DA99A56}" type="presOf" srcId="{ED2B1F7F-F494-45B9-95A0-CA55AA12283C}" destId="{B09CB533-5EC3-410D-AB46-E71343AACD2B}" srcOrd="0" destOrd="1" presId="urn:microsoft.com/office/officeart/2018/5/layout/CenteredIconLabelDescriptionList"/>
    <dgm:cxn modelId="{21B9B2C3-7CB1-4C2C-B7BB-C050AF6AF58D}" srcId="{9A5C5CA7-AE1C-4134-8811-12280C666431}" destId="{B9AEEDBD-522D-48B8-8D07-CE7F2C2B3473}" srcOrd="0" destOrd="0" parTransId="{C3287BBA-8C31-4A5C-87CA-F92560CB2EBD}" sibTransId="{7C0D988D-417B-47DA-AFF3-53D1CAF6AB26}"/>
    <dgm:cxn modelId="{162E19D3-BE28-45AF-8342-024E505D4A19}" srcId="{616BA953-15CB-4E40-A412-40073C8BAD05}" destId="{F436C68A-7E9A-440A-BDC7-5EE5C9C7FA91}" srcOrd="0" destOrd="0" parTransId="{B239B838-01E7-4294-A52D-E86851DF67D5}" sibTransId="{F102DE90-38E5-42A2-9767-FCD51E4DDC36}"/>
    <dgm:cxn modelId="{127FAFDC-8315-48E8-B808-D1B1E66090C2}" srcId="{B1B4CB46-432C-4CED-B4B9-52542D44775A}" destId="{9D5EAB3D-F02A-454F-80AA-61F96F2BDBEB}" srcOrd="0" destOrd="0" parTransId="{DB300381-1C7C-4C6B-9E56-BB247E2FC095}" sibTransId="{2EB999F2-A4AA-446A-B2F2-B618769DDB6A}"/>
    <dgm:cxn modelId="{2C7676FC-E54D-154F-9FB3-4FFE03C799FE}" type="presOf" srcId="{F436C68A-7E9A-440A-BDC7-5EE5C9C7FA91}" destId="{B09CB533-5EC3-410D-AB46-E71343AACD2B}" srcOrd="0" destOrd="0" presId="urn:microsoft.com/office/officeart/2018/5/layout/CenteredIconLabelDescriptionList"/>
    <dgm:cxn modelId="{42CB5C3E-3B76-FB47-A138-B4A5E1C74DDF}" type="presParOf" srcId="{191449EF-41CB-4D97-8DCD-ADA319922F3E}" destId="{AD5F4F99-4431-4E98-96A2-EDEF5CBBC255}" srcOrd="0" destOrd="0" presId="urn:microsoft.com/office/officeart/2018/5/layout/CenteredIconLabelDescriptionList"/>
    <dgm:cxn modelId="{9DC01D61-60BD-B442-8EFC-C29A1C8F8EB4}" type="presParOf" srcId="{AD5F4F99-4431-4E98-96A2-EDEF5CBBC255}" destId="{C6D3E28F-66ED-4430-9F23-E2E750C1905A}" srcOrd="0" destOrd="0" presId="urn:microsoft.com/office/officeart/2018/5/layout/CenteredIconLabelDescriptionList"/>
    <dgm:cxn modelId="{7BF10D7D-9FD5-2B48-BF2B-42687AA81D07}" type="presParOf" srcId="{AD5F4F99-4431-4E98-96A2-EDEF5CBBC255}" destId="{C7F3A578-0B65-4B0F-8C0E-9BFCE4EB2A74}" srcOrd="1" destOrd="0" presId="urn:microsoft.com/office/officeart/2018/5/layout/CenteredIconLabelDescriptionList"/>
    <dgm:cxn modelId="{0E20F706-0EBA-344D-9A16-5320FE1EF646}" type="presParOf" srcId="{AD5F4F99-4431-4E98-96A2-EDEF5CBBC255}" destId="{9A1C80D7-881F-4DD2-BB15-426C9A2EE050}" srcOrd="2" destOrd="0" presId="urn:microsoft.com/office/officeart/2018/5/layout/CenteredIconLabelDescriptionList"/>
    <dgm:cxn modelId="{94490239-8EBE-5548-8595-BA3F4A4B688A}" type="presParOf" srcId="{AD5F4F99-4431-4E98-96A2-EDEF5CBBC255}" destId="{EE4F84BE-EEB5-4991-9DA4-353627E9DC3A}" srcOrd="3" destOrd="0" presId="urn:microsoft.com/office/officeart/2018/5/layout/CenteredIconLabelDescriptionList"/>
    <dgm:cxn modelId="{414FDE06-EDB8-EC49-81E2-B43A178F9508}" type="presParOf" srcId="{AD5F4F99-4431-4E98-96A2-EDEF5CBBC255}" destId="{A16FEF08-AB20-4A12-B0DD-885983425DD0}" srcOrd="4" destOrd="0" presId="urn:microsoft.com/office/officeart/2018/5/layout/CenteredIconLabelDescriptionList"/>
    <dgm:cxn modelId="{AB015BD5-E075-1641-9992-25AA3FD5D21F}" type="presParOf" srcId="{191449EF-41CB-4D97-8DCD-ADA319922F3E}" destId="{176F12E7-0994-4DEB-A55A-68FEE04D173C}" srcOrd="1" destOrd="0" presId="urn:microsoft.com/office/officeart/2018/5/layout/CenteredIconLabelDescriptionList"/>
    <dgm:cxn modelId="{CF5E67A6-2903-764F-9FB4-5CA49A9834DF}" type="presParOf" srcId="{191449EF-41CB-4D97-8DCD-ADA319922F3E}" destId="{41D46860-8314-4F2D-ABBE-BE5ACE7FB9DA}" srcOrd="2" destOrd="0" presId="urn:microsoft.com/office/officeart/2018/5/layout/CenteredIconLabelDescriptionList"/>
    <dgm:cxn modelId="{525C2BFC-841D-574F-8587-752ABAEC2BE9}" type="presParOf" srcId="{41D46860-8314-4F2D-ABBE-BE5ACE7FB9DA}" destId="{353A2F9E-9A72-440F-ADF9-2E92EBF8DA6A}" srcOrd="0" destOrd="0" presId="urn:microsoft.com/office/officeart/2018/5/layout/CenteredIconLabelDescriptionList"/>
    <dgm:cxn modelId="{00CB4145-FB0B-644E-8A3C-97E291D996BC}" type="presParOf" srcId="{41D46860-8314-4F2D-ABBE-BE5ACE7FB9DA}" destId="{B6D41736-8628-473C-BCAB-9917EF4685C7}" srcOrd="1" destOrd="0" presId="urn:microsoft.com/office/officeart/2018/5/layout/CenteredIconLabelDescriptionList"/>
    <dgm:cxn modelId="{5C5733AE-FA24-4B4C-8005-33DB4439C2B8}" type="presParOf" srcId="{41D46860-8314-4F2D-ABBE-BE5ACE7FB9DA}" destId="{616F37C7-5710-4A43-87FE-F70940F549BE}" srcOrd="2" destOrd="0" presId="urn:microsoft.com/office/officeart/2018/5/layout/CenteredIconLabelDescriptionList"/>
    <dgm:cxn modelId="{5B9BC1FB-DA86-EC49-A68C-CB2CA0767009}" type="presParOf" srcId="{41D46860-8314-4F2D-ABBE-BE5ACE7FB9DA}" destId="{87486A2F-B51D-40F0-9FBA-E187B799B830}" srcOrd="3" destOrd="0" presId="urn:microsoft.com/office/officeart/2018/5/layout/CenteredIconLabelDescriptionList"/>
    <dgm:cxn modelId="{423B1F3C-5F4A-1646-BE2F-BB653B7948C4}" type="presParOf" srcId="{41D46860-8314-4F2D-ABBE-BE5ACE7FB9DA}" destId="{B09CB533-5EC3-410D-AB46-E71343AACD2B}" srcOrd="4" destOrd="0" presId="urn:microsoft.com/office/officeart/2018/5/layout/CenteredIconLabelDescriptionList"/>
    <dgm:cxn modelId="{F09A3D11-097A-AC4B-8C72-189C3CCC1C34}" type="presParOf" srcId="{191449EF-41CB-4D97-8DCD-ADA319922F3E}" destId="{72D1864C-59C2-48E1-9757-EAB2006BD872}" srcOrd="3" destOrd="0" presId="urn:microsoft.com/office/officeart/2018/5/layout/CenteredIconLabelDescriptionList"/>
    <dgm:cxn modelId="{56D0D285-8C1D-1341-9329-A7E13DAB4E5A}" type="presParOf" srcId="{191449EF-41CB-4D97-8DCD-ADA319922F3E}" destId="{5BB24625-8E54-4E22-9328-466A49ADA889}" srcOrd="4" destOrd="0" presId="urn:microsoft.com/office/officeart/2018/5/layout/CenteredIconLabelDescriptionList"/>
    <dgm:cxn modelId="{F1D33F02-8D74-E744-9AE0-4B020CD9ABE3}" type="presParOf" srcId="{5BB24625-8E54-4E22-9328-466A49ADA889}" destId="{0F7B80D9-9B73-4015-AF4F-0BD783C4E57F}" srcOrd="0" destOrd="0" presId="urn:microsoft.com/office/officeart/2018/5/layout/CenteredIconLabelDescriptionList"/>
    <dgm:cxn modelId="{CCDE6F33-EE81-ED43-9432-77F438848318}" type="presParOf" srcId="{5BB24625-8E54-4E22-9328-466A49ADA889}" destId="{1EAF6D93-8E48-48A1-AE75-F54D7DF984A1}" srcOrd="1" destOrd="0" presId="urn:microsoft.com/office/officeart/2018/5/layout/CenteredIconLabelDescriptionList"/>
    <dgm:cxn modelId="{8653A3D7-F44F-C84E-B6FC-45699806F732}" type="presParOf" srcId="{5BB24625-8E54-4E22-9328-466A49ADA889}" destId="{DF222537-EF68-4F38-B7EB-F496303C1D16}" srcOrd="2" destOrd="0" presId="urn:microsoft.com/office/officeart/2018/5/layout/CenteredIconLabelDescriptionList"/>
    <dgm:cxn modelId="{0FA01B9A-63A7-C743-BBCC-B77D2BBDB081}" type="presParOf" srcId="{5BB24625-8E54-4E22-9328-466A49ADA889}" destId="{8D909812-9384-4096-B6EE-415FDB757B71}" srcOrd="3" destOrd="0" presId="urn:microsoft.com/office/officeart/2018/5/layout/CenteredIconLabelDescriptionList"/>
    <dgm:cxn modelId="{09C75C53-03A6-DC49-9A3B-C77741226DD8}" type="presParOf" srcId="{5BB24625-8E54-4E22-9328-466A49ADA889}" destId="{DF5C221C-E912-4B94-BCD3-94635060BF63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B8E3B8D-07BE-4442-808E-5A35727BE912}" type="doc">
      <dgm:prSet loTypeId="urn:microsoft.com/office/officeart/2008/layout/VerticalCurve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74C2742-2C88-47D3-9C04-64D3594D2089}">
      <dgm:prSet/>
      <dgm:spPr/>
      <dgm:t>
        <a:bodyPr/>
        <a:lstStyle/>
        <a:p>
          <a:r>
            <a:rPr lang="en-GB" b="1" dirty="0"/>
            <a:t>Female, Male, other</a:t>
          </a:r>
          <a:endParaRPr lang="en-US" b="1" dirty="0"/>
        </a:p>
      </dgm:t>
    </dgm:pt>
    <dgm:pt modelId="{95621F9E-BE32-4CD9-9C63-016420C98984}" type="parTrans" cxnId="{59CF14C1-E1B1-4956-B2DB-73ED9B406750}">
      <dgm:prSet/>
      <dgm:spPr/>
      <dgm:t>
        <a:bodyPr/>
        <a:lstStyle/>
        <a:p>
          <a:endParaRPr lang="en-US"/>
        </a:p>
      </dgm:t>
    </dgm:pt>
    <dgm:pt modelId="{6BF23342-5611-4ADC-9B65-617577527CB7}" type="sibTrans" cxnId="{59CF14C1-E1B1-4956-B2DB-73ED9B406750}">
      <dgm:prSet/>
      <dgm:spPr/>
      <dgm:t>
        <a:bodyPr/>
        <a:lstStyle/>
        <a:p>
          <a:endParaRPr lang="en-US"/>
        </a:p>
      </dgm:t>
    </dgm:pt>
    <dgm:pt modelId="{5262D048-A4CE-410D-998C-288B09C5A1C7}">
      <dgm:prSet/>
      <dgm:spPr/>
      <dgm:t>
        <a:bodyPr/>
        <a:lstStyle/>
        <a:p>
          <a:r>
            <a:rPr lang="en-GB" b="1" dirty="0"/>
            <a:t>Fresher, Junior, Senior, Expert</a:t>
          </a:r>
          <a:endParaRPr lang="en-US" dirty="0"/>
        </a:p>
      </dgm:t>
    </dgm:pt>
    <dgm:pt modelId="{EC2F2341-243B-443D-8EFA-7C767A824D5F}" type="parTrans" cxnId="{0A8FDB1E-D7CD-43B6-BFED-EB6A84B69BB9}">
      <dgm:prSet/>
      <dgm:spPr/>
      <dgm:t>
        <a:bodyPr/>
        <a:lstStyle/>
        <a:p>
          <a:endParaRPr lang="en-US"/>
        </a:p>
      </dgm:t>
    </dgm:pt>
    <dgm:pt modelId="{016895A3-7EC4-4401-9D34-194A9A3B092E}" type="sibTrans" cxnId="{0A8FDB1E-D7CD-43B6-BFED-EB6A84B69BB9}">
      <dgm:prSet/>
      <dgm:spPr/>
      <dgm:t>
        <a:bodyPr/>
        <a:lstStyle/>
        <a:p>
          <a:endParaRPr lang="en-US"/>
        </a:p>
      </dgm:t>
    </dgm:pt>
    <dgm:pt modelId="{6E17F4C2-6837-4E44-9A31-D2E9C4CB321C}">
      <dgm:prSet/>
      <dgm:spPr/>
      <dgm:t>
        <a:bodyPr/>
        <a:lstStyle/>
        <a:p>
          <a:r>
            <a:rPr lang="en-GB" b="1" dirty="0"/>
            <a:t>Generations – youngster to have seen it all</a:t>
          </a:r>
          <a:endParaRPr lang="en-US" dirty="0"/>
        </a:p>
      </dgm:t>
    </dgm:pt>
    <dgm:pt modelId="{8255428B-D079-463E-BD28-27D676F4A0F1}" type="parTrans" cxnId="{3B312195-EE58-49CB-93D7-89415547A5AA}">
      <dgm:prSet/>
      <dgm:spPr/>
      <dgm:t>
        <a:bodyPr/>
        <a:lstStyle/>
        <a:p>
          <a:endParaRPr lang="en-US"/>
        </a:p>
      </dgm:t>
    </dgm:pt>
    <dgm:pt modelId="{5A124563-5C95-44F2-916C-D8B4A23ECE51}" type="sibTrans" cxnId="{3B312195-EE58-49CB-93D7-89415547A5AA}">
      <dgm:prSet/>
      <dgm:spPr/>
      <dgm:t>
        <a:bodyPr/>
        <a:lstStyle/>
        <a:p>
          <a:endParaRPr lang="en-US"/>
        </a:p>
      </dgm:t>
    </dgm:pt>
    <dgm:pt modelId="{234E47FE-EE84-463D-9CF0-20BD2286E26F}">
      <dgm:prSet/>
      <dgm:spPr/>
      <dgm:t>
        <a:bodyPr/>
        <a:lstStyle/>
        <a:p>
          <a:r>
            <a:rPr lang="en-GB" b="1"/>
            <a:t>Skill and industry domains</a:t>
          </a:r>
          <a:endParaRPr lang="en-US"/>
        </a:p>
      </dgm:t>
    </dgm:pt>
    <dgm:pt modelId="{AA738FC5-A7E8-498B-9968-331386FA640F}" type="parTrans" cxnId="{085DACC7-7CC9-4B7C-8F6D-EEE842512C28}">
      <dgm:prSet/>
      <dgm:spPr/>
      <dgm:t>
        <a:bodyPr/>
        <a:lstStyle/>
        <a:p>
          <a:endParaRPr lang="en-US"/>
        </a:p>
      </dgm:t>
    </dgm:pt>
    <dgm:pt modelId="{408BBEA4-CA7A-4210-BD13-EEFB34165C26}" type="sibTrans" cxnId="{085DACC7-7CC9-4B7C-8F6D-EEE842512C28}">
      <dgm:prSet/>
      <dgm:spPr/>
      <dgm:t>
        <a:bodyPr/>
        <a:lstStyle/>
        <a:p>
          <a:endParaRPr lang="en-US"/>
        </a:p>
      </dgm:t>
    </dgm:pt>
    <dgm:pt modelId="{178C9E3A-1A75-4A65-8EBE-E4A0E735E589}">
      <dgm:prSet/>
      <dgm:spPr/>
      <dgm:t>
        <a:bodyPr/>
        <a:lstStyle/>
        <a:p>
          <a:r>
            <a:rPr lang="en-GB" b="1"/>
            <a:t>Cultural backgrounds</a:t>
          </a:r>
          <a:endParaRPr lang="en-US"/>
        </a:p>
      </dgm:t>
    </dgm:pt>
    <dgm:pt modelId="{52E62101-43FE-44C7-B3BB-A6837B16B0A2}" type="parTrans" cxnId="{8E5134DA-CB1B-45B6-8E33-D76BDCFD1E62}">
      <dgm:prSet/>
      <dgm:spPr/>
      <dgm:t>
        <a:bodyPr/>
        <a:lstStyle/>
        <a:p>
          <a:endParaRPr lang="en-US"/>
        </a:p>
      </dgm:t>
    </dgm:pt>
    <dgm:pt modelId="{375EA211-4685-42B5-B21A-52AB4F00196A}" type="sibTrans" cxnId="{8E5134DA-CB1B-45B6-8E33-D76BDCFD1E62}">
      <dgm:prSet/>
      <dgm:spPr/>
      <dgm:t>
        <a:bodyPr/>
        <a:lstStyle/>
        <a:p>
          <a:endParaRPr lang="en-US"/>
        </a:p>
      </dgm:t>
    </dgm:pt>
    <dgm:pt modelId="{8CAB7508-8C51-48EE-9F41-5E85D09B05C7}">
      <dgm:prSet/>
      <dgm:spPr/>
      <dgm:t>
        <a:bodyPr/>
        <a:lstStyle/>
        <a:p>
          <a:r>
            <a:rPr lang="en-GB" b="1" dirty="0"/>
            <a:t>Global, local</a:t>
          </a:r>
          <a:endParaRPr lang="en-US" dirty="0"/>
        </a:p>
      </dgm:t>
    </dgm:pt>
    <dgm:pt modelId="{F2F31555-03F7-457D-8BA1-88D730954DBE}" type="parTrans" cxnId="{1D2D4212-1DE6-40E1-9F29-C8C87AAD4B2B}">
      <dgm:prSet/>
      <dgm:spPr/>
      <dgm:t>
        <a:bodyPr/>
        <a:lstStyle/>
        <a:p>
          <a:endParaRPr lang="en-US"/>
        </a:p>
      </dgm:t>
    </dgm:pt>
    <dgm:pt modelId="{37557F4D-E88A-4E58-A756-805D36B9478E}" type="sibTrans" cxnId="{1D2D4212-1DE6-40E1-9F29-C8C87AAD4B2B}">
      <dgm:prSet/>
      <dgm:spPr/>
      <dgm:t>
        <a:bodyPr/>
        <a:lstStyle/>
        <a:p>
          <a:endParaRPr lang="en-US"/>
        </a:p>
      </dgm:t>
    </dgm:pt>
    <dgm:pt modelId="{744D2EF8-E950-4404-93FF-162E2200EEE2}">
      <dgm:prSet/>
      <dgm:spPr/>
      <dgm:t>
        <a:bodyPr/>
        <a:lstStyle/>
        <a:p>
          <a:r>
            <a:rPr lang="en-GB" b="1" dirty="0"/>
            <a:t>Training backgrounds</a:t>
          </a:r>
          <a:endParaRPr lang="en-US" dirty="0"/>
        </a:p>
      </dgm:t>
    </dgm:pt>
    <dgm:pt modelId="{4C8AFA03-35ED-4F9C-BB7A-19957710F05B}" type="parTrans" cxnId="{ADFCC5C0-0422-4382-AF62-B3EE44EAF62B}">
      <dgm:prSet/>
      <dgm:spPr/>
      <dgm:t>
        <a:bodyPr/>
        <a:lstStyle/>
        <a:p>
          <a:endParaRPr lang="en-US"/>
        </a:p>
      </dgm:t>
    </dgm:pt>
    <dgm:pt modelId="{25969007-2A0E-4066-8632-75700F597FE1}" type="sibTrans" cxnId="{ADFCC5C0-0422-4382-AF62-B3EE44EAF62B}">
      <dgm:prSet/>
      <dgm:spPr/>
      <dgm:t>
        <a:bodyPr/>
        <a:lstStyle/>
        <a:p>
          <a:endParaRPr lang="en-US"/>
        </a:p>
      </dgm:t>
    </dgm:pt>
    <dgm:pt modelId="{55AC20C3-A42F-3F4D-BEA2-D3DD9A910A2D}" type="pres">
      <dgm:prSet presAssocID="{5B8E3B8D-07BE-4442-808E-5A35727BE912}" presName="Name0" presStyleCnt="0">
        <dgm:presLayoutVars>
          <dgm:chMax val="7"/>
          <dgm:chPref val="7"/>
          <dgm:dir/>
        </dgm:presLayoutVars>
      </dgm:prSet>
      <dgm:spPr/>
    </dgm:pt>
    <dgm:pt modelId="{872B20A0-1B82-5C4A-8D51-95D9CE66606B}" type="pres">
      <dgm:prSet presAssocID="{5B8E3B8D-07BE-4442-808E-5A35727BE912}" presName="Name1" presStyleCnt="0"/>
      <dgm:spPr/>
    </dgm:pt>
    <dgm:pt modelId="{199F28E2-9C9E-B740-BCFA-D94170897BA3}" type="pres">
      <dgm:prSet presAssocID="{5B8E3B8D-07BE-4442-808E-5A35727BE912}" presName="cycle" presStyleCnt="0"/>
      <dgm:spPr/>
    </dgm:pt>
    <dgm:pt modelId="{7C394C70-DC9D-9D40-8CFE-F86753BBBA69}" type="pres">
      <dgm:prSet presAssocID="{5B8E3B8D-07BE-4442-808E-5A35727BE912}" presName="srcNode" presStyleLbl="node1" presStyleIdx="0" presStyleCnt="7"/>
      <dgm:spPr/>
    </dgm:pt>
    <dgm:pt modelId="{504ED8A1-35C1-DB46-8154-4410E3175331}" type="pres">
      <dgm:prSet presAssocID="{5B8E3B8D-07BE-4442-808E-5A35727BE912}" presName="conn" presStyleLbl="parChTrans1D2" presStyleIdx="0" presStyleCnt="1"/>
      <dgm:spPr/>
    </dgm:pt>
    <dgm:pt modelId="{CC97495A-1062-9345-92EE-A20A6922B1B0}" type="pres">
      <dgm:prSet presAssocID="{5B8E3B8D-07BE-4442-808E-5A35727BE912}" presName="extraNode" presStyleLbl="node1" presStyleIdx="0" presStyleCnt="7"/>
      <dgm:spPr/>
    </dgm:pt>
    <dgm:pt modelId="{A4771E6E-14B3-4148-9150-D3AC6A8F1C95}" type="pres">
      <dgm:prSet presAssocID="{5B8E3B8D-07BE-4442-808E-5A35727BE912}" presName="dstNode" presStyleLbl="node1" presStyleIdx="0" presStyleCnt="7"/>
      <dgm:spPr/>
    </dgm:pt>
    <dgm:pt modelId="{6320A121-4B75-9E41-B15E-F41806A9C92B}" type="pres">
      <dgm:prSet presAssocID="{274C2742-2C88-47D3-9C04-64D3594D2089}" presName="text_1" presStyleLbl="node1" presStyleIdx="0" presStyleCnt="7">
        <dgm:presLayoutVars>
          <dgm:bulletEnabled val="1"/>
        </dgm:presLayoutVars>
      </dgm:prSet>
      <dgm:spPr/>
    </dgm:pt>
    <dgm:pt modelId="{046BBB1F-CCE7-4149-9636-0BE162F7881D}" type="pres">
      <dgm:prSet presAssocID="{274C2742-2C88-47D3-9C04-64D3594D2089}" presName="accent_1" presStyleCnt="0"/>
      <dgm:spPr/>
    </dgm:pt>
    <dgm:pt modelId="{4D8B4866-B386-1041-B4CC-FED93E9854A8}" type="pres">
      <dgm:prSet presAssocID="{274C2742-2C88-47D3-9C04-64D3594D2089}" presName="accentRepeatNode" presStyleLbl="solidFgAcc1" presStyleIdx="0" presStyleCnt="7"/>
      <dgm:spPr/>
    </dgm:pt>
    <dgm:pt modelId="{EFCA0EAC-E7EB-8943-8CA3-2E00E7C015FE}" type="pres">
      <dgm:prSet presAssocID="{5262D048-A4CE-410D-998C-288B09C5A1C7}" presName="text_2" presStyleLbl="node1" presStyleIdx="1" presStyleCnt="7">
        <dgm:presLayoutVars>
          <dgm:bulletEnabled val="1"/>
        </dgm:presLayoutVars>
      </dgm:prSet>
      <dgm:spPr/>
    </dgm:pt>
    <dgm:pt modelId="{7CC3F47A-915F-8348-A7CC-404B7FE6F827}" type="pres">
      <dgm:prSet presAssocID="{5262D048-A4CE-410D-998C-288B09C5A1C7}" presName="accent_2" presStyleCnt="0"/>
      <dgm:spPr/>
    </dgm:pt>
    <dgm:pt modelId="{AAC1D892-E858-1549-B5B7-85C276EA3E3F}" type="pres">
      <dgm:prSet presAssocID="{5262D048-A4CE-410D-998C-288B09C5A1C7}" presName="accentRepeatNode" presStyleLbl="solidFgAcc1" presStyleIdx="1" presStyleCnt="7"/>
      <dgm:spPr/>
    </dgm:pt>
    <dgm:pt modelId="{366707D7-0EF0-EE44-B799-43A59D140A7F}" type="pres">
      <dgm:prSet presAssocID="{6E17F4C2-6837-4E44-9A31-D2E9C4CB321C}" presName="text_3" presStyleLbl="node1" presStyleIdx="2" presStyleCnt="7">
        <dgm:presLayoutVars>
          <dgm:bulletEnabled val="1"/>
        </dgm:presLayoutVars>
      </dgm:prSet>
      <dgm:spPr/>
    </dgm:pt>
    <dgm:pt modelId="{58C5DC32-401D-194B-89B2-19D544EC4CFA}" type="pres">
      <dgm:prSet presAssocID="{6E17F4C2-6837-4E44-9A31-D2E9C4CB321C}" presName="accent_3" presStyleCnt="0"/>
      <dgm:spPr/>
    </dgm:pt>
    <dgm:pt modelId="{A2373974-854C-F448-BB0A-2763F1B2782D}" type="pres">
      <dgm:prSet presAssocID="{6E17F4C2-6837-4E44-9A31-D2E9C4CB321C}" presName="accentRepeatNode" presStyleLbl="solidFgAcc1" presStyleIdx="2" presStyleCnt="7"/>
      <dgm:spPr/>
    </dgm:pt>
    <dgm:pt modelId="{0A9ADD97-515E-2642-8EE8-FEB1D949964B}" type="pres">
      <dgm:prSet presAssocID="{8CAB7508-8C51-48EE-9F41-5E85D09B05C7}" presName="text_4" presStyleLbl="node1" presStyleIdx="3" presStyleCnt="7">
        <dgm:presLayoutVars>
          <dgm:bulletEnabled val="1"/>
        </dgm:presLayoutVars>
      </dgm:prSet>
      <dgm:spPr/>
    </dgm:pt>
    <dgm:pt modelId="{6BE94B0D-060B-D44C-8E67-2A8CA0BB9DAB}" type="pres">
      <dgm:prSet presAssocID="{8CAB7508-8C51-48EE-9F41-5E85D09B05C7}" presName="accent_4" presStyleCnt="0"/>
      <dgm:spPr/>
    </dgm:pt>
    <dgm:pt modelId="{A3772FE8-64E2-2D49-B829-87E0533AD60B}" type="pres">
      <dgm:prSet presAssocID="{8CAB7508-8C51-48EE-9F41-5E85D09B05C7}" presName="accentRepeatNode" presStyleLbl="solidFgAcc1" presStyleIdx="3" presStyleCnt="7"/>
      <dgm:spPr/>
    </dgm:pt>
    <dgm:pt modelId="{1118FC90-D390-504A-B556-BA30221EAAB3}" type="pres">
      <dgm:prSet presAssocID="{744D2EF8-E950-4404-93FF-162E2200EEE2}" presName="text_5" presStyleLbl="node1" presStyleIdx="4" presStyleCnt="7">
        <dgm:presLayoutVars>
          <dgm:bulletEnabled val="1"/>
        </dgm:presLayoutVars>
      </dgm:prSet>
      <dgm:spPr/>
    </dgm:pt>
    <dgm:pt modelId="{D671D1B6-1714-F142-8E2E-FAEE2ABA0020}" type="pres">
      <dgm:prSet presAssocID="{744D2EF8-E950-4404-93FF-162E2200EEE2}" presName="accent_5" presStyleCnt="0"/>
      <dgm:spPr/>
    </dgm:pt>
    <dgm:pt modelId="{F66425E6-7A2B-064B-B10D-445F64BBB2BE}" type="pres">
      <dgm:prSet presAssocID="{744D2EF8-E950-4404-93FF-162E2200EEE2}" presName="accentRepeatNode" presStyleLbl="solidFgAcc1" presStyleIdx="4" presStyleCnt="7"/>
      <dgm:spPr/>
    </dgm:pt>
    <dgm:pt modelId="{C334F33B-BE88-4742-B3F2-8F78AD16CB00}" type="pres">
      <dgm:prSet presAssocID="{234E47FE-EE84-463D-9CF0-20BD2286E26F}" presName="text_6" presStyleLbl="node1" presStyleIdx="5" presStyleCnt="7">
        <dgm:presLayoutVars>
          <dgm:bulletEnabled val="1"/>
        </dgm:presLayoutVars>
      </dgm:prSet>
      <dgm:spPr/>
    </dgm:pt>
    <dgm:pt modelId="{3FAC492C-1282-0D45-81AA-0ADA7AB9CEC0}" type="pres">
      <dgm:prSet presAssocID="{234E47FE-EE84-463D-9CF0-20BD2286E26F}" presName="accent_6" presStyleCnt="0"/>
      <dgm:spPr/>
    </dgm:pt>
    <dgm:pt modelId="{907B740E-C621-104E-A138-FC3A5BE38C1F}" type="pres">
      <dgm:prSet presAssocID="{234E47FE-EE84-463D-9CF0-20BD2286E26F}" presName="accentRepeatNode" presStyleLbl="solidFgAcc1" presStyleIdx="5" presStyleCnt="7"/>
      <dgm:spPr/>
    </dgm:pt>
    <dgm:pt modelId="{6EB0A442-8F3F-9E48-9054-B61C18F45028}" type="pres">
      <dgm:prSet presAssocID="{178C9E3A-1A75-4A65-8EBE-E4A0E735E589}" presName="text_7" presStyleLbl="node1" presStyleIdx="6" presStyleCnt="7">
        <dgm:presLayoutVars>
          <dgm:bulletEnabled val="1"/>
        </dgm:presLayoutVars>
      </dgm:prSet>
      <dgm:spPr/>
    </dgm:pt>
    <dgm:pt modelId="{CDAA142A-5C31-7B42-96D7-96920A4A8FD2}" type="pres">
      <dgm:prSet presAssocID="{178C9E3A-1A75-4A65-8EBE-E4A0E735E589}" presName="accent_7" presStyleCnt="0"/>
      <dgm:spPr/>
    </dgm:pt>
    <dgm:pt modelId="{9F4BF6BA-C567-0A4B-8766-A4B0114AF050}" type="pres">
      <dgm:prSet presAssocID="{178C9E3A-1A75-4A65-8EBE-E4A0E735E589}" presName="accentRepeatNode" presStyleLbl="solidFgAcc1" presStyleIdx="6" presStyleCnt="7"/>
      <dgm:spPr/>
    </dgm:pt>
  </dgm:ptLst>
  <dgm:cxnLst>
    <dgm:cxn modelId="{1D2D4212-1DE6-40E1-9F29-C8C87AAD4B2B}" srcId="{5B8E3B8D-07BE-4442-808E-5A35727BE912}" destId="{8CAB7508-8C51-48EE-9F41-5E85D09B05C7}" srcOrd="3" destOrd="0" parTransId="{F2F31555-03F7-457D-8BA1-88D730954DBE}" sibTransId="{37557F4D-E88A-4E58-A756-805D36B9478E}"/>
    <dgm:cxn modelId="{0A8FDB1E-D7CD-43B6-BFED-EB6A84B69BB9}" srcId="{5B8E3B8D-07BE-4442-808E-5A35727BE912}" destId="{5262D048-A4CE-410D-998C-288B09C5A1C7}" srcOrd="1" destOrd="0" parTransId="{EC2F2341-243B-443D-8EFA-7C767A824D5F}" sibTransId="{016895A3-7EC4-4401-9D34-194A9A3B092E}"/>
    <dgm:cxn modelId="{63A66021-EC3E-2A49-80FF-AB9AE5C97E0E}" type="presOf" srcId="{234E47FE-EE84-463D-9CF0-20BD2286E26F}" destId="{C334F33B-BE88-4742-B3F2-8F78AD16CB00}" srcOrd="0" destOrd="0" presId="urn:microsoft.com/office/officeart/2008/layout/VerticalCurvedList"/>
    <dgm:cxn modelId="{43B25E27-C9A4-5E49-9CF9-CDB054553717}" type="presOf" srcId="{6BF23342-5611-4ADC-9B65-617577527CB7}" destId="{504ED8A1-35C1-DB46-8154-4410E3175331}" srcOrd="0" destOrd="0" presId="urn:microsoft.com/office/officeart/2008/layout/VerticalCurvedList"/>
    <dgm:cxn modelId="{8D2F987B-8EC3-8A42-80B9-44273D9B7DD8}" type="presOf" srcId="{6E17F4C2-6837-4E44-9A31-D2E9C4CB321C}" destId="{366707D7-0EF0-EE44-B799-43A59D140A7F}" srcOrd="0" destOrd="0" presId="urn:microsoft.com/office/officeart/2008/layout/VerticalCurvedList"/>
    <dgm:cxn modelId="{5A912786-2F01-294D-9D1C-C3534F214335}" type="presOf" srcId="{178C9E3A-1A75-4A65-8EBE-E4A0E735E589}" destId="{6EB0A442-8F3F-9E48-9054-B61C18F45028}" srcOrd="0" destOrd="0" presId="urn:microsoft.com/office/officeart/2008/layout/VerticalCurvedList"/>
    <dgm:cxn modelId="{7D003186-C57A-E443-95AC-09975EAFCCB1}" type="presOf" srcId="{744D2EF8-E950-4404-93FF-162E2200EEE2}" destId="{1118FC90-D390-504A-B556-BA30221EAAB3}" srcOrd="0" destOrd="0" presId="urn:microsoft.com/office/officeart/2008/layout/VerticalCurvedList"/>
    <dgm:cxn modelId="{C2C5DA92-89FD-DC4A-82D6-81D4D35DDDD9}" type="presOf" srcId="{274C2742-2C88-47D3-9C04-64D3594D2089}" destId="{6320A121-4B75-9E41-B15E-F41806A9C92B}" srcOrd="0" destOrd="0" presId="urn:microsoft.com/office/officeart/2008/layout/VerticalCurvedList"/>
    <dgm:cxn modelId="{3B312195-EE58-49CB-93D7-89415547A5AA}" srcId="{5B8E3B8D-07BE-4442-808E-5A35727BE912}" destId="{6E17F4C2-6837-4E44-9A31-D2E9C4CB321C}" srcOrd="2" destOrd="0" parTransId="{8255428B-D079-463E-BD28-27D676F4A0F1}" sibTransId="{5A124563-5C95-44F2-916C-D8B4A23ECE51}"/>
    <dgm:cxn modelId="{9E1C7AAD-EBD7-7F49-BC5E-5567243A627A}" type="presOf" srcId="{5262D048-A4CE-410D-998C-288B09C5A1C7}" destId="{EFCA0EAC-E7EB-8943-8CA3-2E00E7C015FE}" srcOrd="0" destOrd="0" presId="urn:microsoft.com/office/officeart/2008/layout/VerticalCurvedList"/>
    <dgm:cxn modelId="{29D4AFB0-2544-5D41-844F-0659D80701F4}" type="presOf" srcId="{5B8E3B8D-07BE-4442-808E-5A35727BE912}" destId="{55AC20C3-A42F-3F4D-BEA2-D3DD9A910A2D}" srcOrd="0" destOrd="0" presId="urn:microsoft.com/office/officeart/2008/layout/VerticalCurvedList"/>
    <dgm:cxn modelId="{ADFCC5C0-0422-4382-AF62-B3EE44EAF62B}" srcId="{5B8E3B8D-07BE-4442-808E-5A35727BE912}" destId="{744D2EF8-E950-4404-93FF-162E2200EEE2}" srcOrd="4" destOrd="0" parTransId="{4C8AFA03-35ED-4F9C-BB7A-19957710F05B}" sibTransId="{25969007-2A0E-4066-8632-75700F597FE1}"/>
    <dgm:cxn modelId="{59CF14C1-E1B1-4956-B2DB-73ED9B406750}" srcId="{5B8E3B8D-07BE-4442-808E-5A35727BE912}" destId="{274C2742-2C88-47D3-9C04-64D3594D2089}" srcOrd="0" destOrd="0" parTransId="{95621F9E-BE32-4CD9-9C63-016420C98984}" sibTransId="{6BF23342-5611-4ADC-9B65-617577527CB7}"/>
    <dgm:cxn modelId="{085DACC7-7CC9-4B7C-8F6D-EEE842512C28}" srcId="{5B8E3B8D-07BE-4442-808E-5A35727BE912}" destId="{234E47FE-EE84-463D-9CF0-20BD2286E26F}" srcOrd="5" destOrd="0" parTransId="{AA738FC5-A7E8-498B-9968-331386FA640F}" sibTransId="{408BBEA4-CA7A-4210-BD13-EEFB34165C26}"/>
    <dgm:cxn modelId="{166EE4D6-4018-2A41-974D-CE4341D81F44}" type="presOf" srcId="{8CAB7508-8C51-48EE-9F41-5E85D09B05C7}" destId="{0A9ADD97-515E-2642-8EE8-FEB1D949964B}" srcOrd="0" destOrd="0" presId="urn:microsoft.com/office/officeart/2008/layout/VerticalCurvedList"/>
    <dgm:cxn modelId="{8E5134DA-CB1B-45B6-8E33-D76BDCFD1E62}" srcId="{5B8E3B8D-07BE-4442-808E-5A35727BE912}" destId="{178C9E3A-1A75-4A65-8EBE-E4A0E735E589}" srcOrd="6" destOrd="0" parTransId="{52E62101-43FE-44C7-B3BB-A6837B16B0A2}" sibTransId="{375EA211-4685-42B5-B21A-52AB4F00196A}"/>
    <dgm:cxn modelId="{86403FB0-16B4-EF41-BA31-B459FA21C557}" type="presParOf" srcId="{55AC20C3-A42F-3F4D-BEA2-D3DD9A910A2D}" destId="{872B20A0-1B82-5C4A-8D51-95D9CE66606B}" srcOrd="0" destOrd="0" presId="urn:microsoft.com/office/officeart/2008/layout/VerticalCurvedList"/>
    <dgm:cxn modelId="{720F2544-5B41-2544-AE3B-FACCC7DB4B19}" type="presParOf" srcId="{872B20A0-1B82-5C4A-8D51-95D9CE66606B}" destId="{199F28E2-9C9E-B740-BCFA-D94170897BA3}" srcOrd="0" destOrd="0" presId="urn:microsoft.com/office/officeart/2008/layout/VerticalCurvedList"/>
    <dgm:cxn modelId="{CCB30035-9283-8D44-B393-489AF715C606}" type="presParOf" srcId="{199F28E2-9C9E-B740-BCFA-D94170897BA3}" destId="{7C394C70-DC9D-9D40-8CFE-F86753BBBA69}" srcOrd="0" destOrd="0" presId="urn:microsoft.com/office/officeart/2008/layout/VerticalCurvedList"/>
    <dgm:cxn modelId="{1FC7F593-31EE-844E-97CA-815F8229E1EC}" type="presParOf" srcId="{199F28E2-9C9E-B740-BCFA-D94170897BA3}" destId="{504ED8A1-35C1-DB46-8154-4410E3175331}" srcOrd="1" destOrd="0" presId="urn:microsoft.com/office/officeart/2008/layout/VerticalCurvedList"/>
    <dgm:cxn modelId="{492BD392-14B5-044D-A4F3-59547C0F8AF4}" type="presParOf" srcId="{199F28E2-9C9E-B740-BCFA-D94170897BA3}" destId="{CC97495A-1062-9345-92EE-A20A6922B1B0}" srcOrd="2" destOrd="0" presId="urn:microsoft.com/office/officeart/2008/layout/VerticalCurvedList"/>
    <dgm:cxn modelId="{47D944E6-37E9-6F4A-A425-3C5C02762410}" type="presParOf" srcId="{199F28E2-9C9E-B740-BCFA-D94170897BA3}" destId="{A4771E6E-14B3-4148-9150-D3AC6A8F1C95}" srcOrd="3" destOrd="0" presId="urn:microsoft.com/office/officeart/2008/layout/VerticalCurvedList"/>
    <dgm:cxn modelId="{11BA4CF9-0B6E-2B44-8BEA-DC9837A05D8D}" type="presParOf" srcId="{872B20A0-1B82-5C4A-8D51-95D9CE66606B}" destId="{6320A121-4B75-9E41-B15E-F41806A9C92B}" srcOrd="1" destOrd="0" presId="urn:microsoft.com/office/officeart/2008/layout/VerticalCurvedList"/>
    <dgm:cxn modelId="{0CF66343-4BEE-FF46-B98D-C73293468D1A}" type="presParOf" srcId="{872B20A0-1B82-5C4A-8D51-95D9CE66606B}" destId="{046BBB1F-CCE7-4149-9636-0BE162F7881D}" srcOrd="2" destOrd="0" presId="urn:microsoft.com/office/officeart/2008/layout/VerticalCurvedList"/>
    <dgm:cxn modelId="{69247ACD-A23F-8940-A549-DDE640168940}" type="presParOf" srcId="{046BBB1F-CCE7-4149-9636-0BE162F7881D}" destId="{4D8B4866-B386-1041-B4CC-FED93E9854A8}" srcOrd="0" destOrd="0" presId="urn:microsoft.com/office/officeart/2008/layout/VerticalCurvedList"/>
    <dgm:cxn modelId="{1DE2A7EA-DD19-6042-8849-CF17F83D94EA}" type="presParOf" srcId="{872B20A0-1B82-5C4A-8D51-95D9CE66606B}" destId="{EFCA0EAC-E7EB-8943-8CA3-2E00E7C015FE}" srcOrd="3" destOrd="0" presId="urn:microsoft.com/office/officeart/2008/layout/VerticalCurvedList"/>
    <dgm:cxn modelId="{B8F7F748-6F71-9E49-AAFD-6DEC3C3EFA4A}" type="presParOf" srcId="{872B20A0-1B82-5C4A-8D51-95D9CE66606B}" destId="{7CC3F47A-915F-8348-A7CC-404B7FE6F827}" srcOrd="4" destOrd="0" presId="urn:microsoft.com/office/officeart/2008/layout/VerticalCurvedList"/>
    <dgm:cxn modelId="{6945FB40-C46D-E045-B9EA-0C1335ECAC8C}" type="presParOf" srcId="{7CC3F47A-915F-8348-A7CC-404B7FE6F827}" destId="{AAC1D892-E858-1549-B5B7-85C276EA3E3F}" srcOrd="0" destOrd="0" presId="urn:microsoft.com/office/officeart/2008/layout/VerticalCurvedList"/>
    <dgm:cxn modelId="{C39981ED-E4D2-A142-ADDB-D2022ED13E25}" type="presParOf" srcId="{872B20A0-1B82-5C4A-8D51-95D9CE66606B}" destId="{366707D7-0EF0-EE44-B799-43A59D140A7F}" srcOrd="5" destOrd="0" presId="urn:microsoft.com/office/officeart/2008/layout/VerticalCurvedList"/>
    <dgm:cxn modelId="{463BFF5B-5FAA-714E-89BB-CD930C1E46F4}" type="presParOf" srcId="{872B20A0-1B82-5C4A-8D51-95D9CE66606B}" destId="{58C5DC32-401D-194B-89B2-19D544EC4CFA}" srcOrd="6" destOrd="0" presId="urn:microsoft.com/office/officeart/2008/layout/VerticalCurvedList"/>
    <dgm:cxn modelId="{9064EA62-0368-2147-BB0D-43EF155CA42D}" type="presParOf" srcId="{58C5DC32-401D-194B-89B2-19D544EC4CFA}" destId="{A2373974-854C-F448-BB0A-2763F1B2782D}" srcOrd="0" destOrd="0" presId="urn:microsoft.com/office/officeart/2008/layout/VerticalCurvedList"/>
    <dgm:cxn modelId="{972AEBC0-7439-AC45-A498-0159E88BEE4D}" type="presParOf" srcId="{872B20A0-1B82-5C4A-8D51-95D9CE66606B}" destId="{0A9ADD97-515E-2642-8EE8-FEB1D949964B}" srcOrd="7" destOrd="0" presId="urn:microsoft.com/office/officeart/2008/layout/VerticalCurvedList"/>
    <dgm:cxn modelId="{7569DA28-BA03-2E4E-940D-22CE879E8E0B}" type="presParOf" srcId="{872B20A0-1B82-5C4A-8D51-95D9CE66606B}" destId="{6BE94B0D-060B-D44C-8E67-2A8CA0BB9DAB}" srcOrd="8" destOrd="0" presId="urn:microsoft.com/office/officeart/2008/layout/VerticalCurvedList"/>
    <dgm:cxn modelId="{DB124184-7219-6B49-B338-846570509177}" type="presParOf" srcId="{6BE94B0D-060B-D44C-8E67-2A8CA0BB9DAB}" destId="{A3772FE8-64E2-2D49-B829-87E0533AD60B}" srcOrd="0" destOrd="0" presId="urn:microsoft.com/office/officeart/2008/layout/VerticalCurvedList"/>
    <dgm:cxn modelId="{8F6ED520-1171-194E-83DE-5FC6272F23C3}" type="presParOf" srcId="{872B20A0-1B82-5C4A-8D51-95D9CE66606B}" destId="{1118FC90-D390-504A-B556-BA30221EAAB3}" srcOrd="9" destOrd="0" presId="urn:microsoft.com/office/officeart/2008/layout/VerticalCurvedList"/>
    <dgm:cxn modelId="{A944D97B-F5DF-8B4F-AF87-B88B814A049F}" type="presParOf" srcId="{872B20A0-1B82-5C4A-8D51-95D9CE66606B}" destId="{D671D1B6-1714-F142-8E2E-FAEE2ABA0020}" srcOrd="10" destOrd="0" presId="urn:microsoft.com/office/officeart/2008/layout/VerticalCurvedList"/>
    <dgm:cxn modelId="{721AFF02-0B7F-BC42-8456-FB777CAFE49B}" type="presParOf" srcId="{D671D1B6-1714-F142-8E2E-FAEE2ABA0020}" destId="{F66425E6-7A2B-064B-B10D-445F64BBB2BE}" srcOrd="0" destOrd="0" presId="urn:microsoft.com/office/officeart/2008/layout/VerticalCurvedList"/>
    <dgm:cxn modelId="{907C345F-5535-6949-ACCA-801BA97ED078}" type="presParOf" srcId="{872B20A0-1B82-5C4A-8D51-95D9CE66606B}" destId="{C334F33B-BE88-4742-B3F2-8F78AD16CB00}" srcOrd="11" destOrd="0" presId="urn:microsoft.com/office/officeart/2008/layout/VerticalCurvedList"/>
    <dgm:cxn modelId="{9524A87E-A9DB-364B-901D-8EF16C1E37D2}" type="presParOf" srcId="{872B20A0-1B82-5C4A-8D51-95D9CE66606B}" destId="{3FAC492C-1282-0D45-81AA-0ADA7AB9CEC0}" srcOrd="12" destOrd="0" presId="urn:microsoft.com/office/officeart/2008/layout/VerticalCurvedList"/>
    <dgm:cxn modelId="{C3AE4714-1F46-D243-8745-6CF74926A6C4}" type="presParOf" srcId="{3FAC492C-1282-0D45-81AA-0ADA7AB9CEC0}" destId="{907B740E-C621-104E-A138-FC3A5BE38C1F}" srcOrd="0" destOrd="0" presId="urn:microsoft.com/office/officeart/2008/layout/VerticalCurvedList"/>
    <dgm:cxn modelId="{631EABC8-808F-9246-9CA8-804641125706}" type="presParOf" srcId="{872B20A0-1B82-5C4A-8D51-95D9CE66606B}" destId="{6EB0A442-8F3F-9E48-9054-B61C18F45028}" srcOrd="13" destOrd="0" presId="urn:microsoft.com/office/officeart/2008/layout/VerticalCurvedList"/>
    <dgm:cxn modelId="{65BCC44E-0837-DE42-85ED-15E4B08C67D8}" type="presParOf" srcId="{872B20A0-1B82-5C4A-8D51-95D9CE66606B}" destId="{CDAA142A-5C31-7B42-96D7-96920A4A8FD2}" srcOrd="14" destOrd="0" presId="urn:microsoft.com/office/officeart/2008/layout/VerticalCurvedList"/>
    <dgm:cxn modelId="{5FA6C095-9B8D-BC40-98A4-AFDF06B3378B}" type="presParOf" srcId="{CDAA142A-5C31-7B42-96D7-96920A4A8FD2}" destId="{9F4BF6BA-C567-0A4B-8766-A4B0114AF05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A5C5CA7-AE1C-4134-8811-12280C666431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accent4_2" csCatId="accent4" phldr="1"/>
      <dgm:spPr/>
      <dgm:t>
        <a:bodyPr/>
        <a:lstStyle/>
        <a:p>
          <a:endParaRPr lang="en-US"/>
        </a:p>
      </dgm:t>
    </dgm:pt>
    <dgm:pt modelId="{B9AEEDBD-522D-48B8-8D07-CE7F2C2B3473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/>
            <a:t>Hire well</a:t>
          </a:r>
        </a:p>
      </dgm:t>
    </dgm:pt>
    <dgm:pt modelId="{C3287BBA-8C31-4A5C-87CA-F92560CB2EBD}" type="parTrans" cxnId="{21B9B2C3-7CB1-4C2C-B7BB-C050AF6AF58D}">
      <dgm:prSet/>
      <dgm:spPr/>
      <dgm:t>
        <a:bodyPr/>
        <a:lstStyle/>
        <a:p>
          <a:endParaRPr lang="en-US"/>
        </a:p>
      </dgm:t>
    </dgm:pt>
    <dgm:pt modelId="{7C0D988D-417B-47DA-AFF3-53D1CAF6AB26}" type="sibTrans" cxnId="{21B9B2C3-7CB1-4C2C-B7BB-C050AF6AF58D}">
      <dgm:prSet/>
      <dgm:spPr/>
      <dgm:t>
        <a:bodyPr/>
        <a:lstStyle/>
        <a:p>
          <a:endParaRPr lang="en-US"/>
        </a:p>
      </dgm:t>
    </dgm:pt>
    <dgm:pt modelId="{616BA953-15CB-4E40-A412-40073C8BAD05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/>
            <a:t>Take good care of the people hired</a:t>
          </a:r>
          <a:endParaRPr lang="en-US" dirty="0"/>
        </a:p>
      </dgm:t>
    </dgm:pt>
    <dgm:pt modelId="{82832AE6-2729-4012-B4FE-C2B9495DC5C2}" type="parTrans" cxnId="{CD83568B-06F2-402D-A644-1500368D528B}">
      <dgm:prSet/>
      <dgm:spPr/>
      <dgm:t>
        <a:bodyPr/>
        <a:lstStyle/>
        <a:p>
          <a:endParaRPr lang="en-US"/>
        </a:p>
      </dgm:t>
    </dgm:pt>
    <dgm:pt modelId="{724DE97E-D40A-4407-BF22-6DBF6E5C5CFF}" type="sibTrans" cxnId="{CD83568B-06F2-402D-A644-1500368D528B}">
      <dgm:prSet/>
      <dgm:spPr/>
      <dgm:t>
        <a:bodyPr/>
        <a:lstStyle/>
        <a:p>
          <a:endParaRPr lang="en-US"/>
        </a:p>
      </dgm:t>
    </dgm:pt>
    <dgm:pt modelId="{F436C68A-7E9A-440A-BDC7-5EE5C9C7FA91}">
      <dgm:prSet/>
      <dgm:spPr/>
      <dgm:t>
        <a:bodyPr/>
        <a:lstStyle/>
        <a:p>
          <a:pPr>
            <a:lnSpc>
              <a:spcPct val="100000"/>
            </a:lnSpc>
          </a:pPr>
          <a:endParaRPr lang="en-US" dirty="0"/>
        </a:p>
      </dgm:t>
    </dgm:pt>
    <dgm:pt modelId="{B239B838-01E7-4294-A52D-E86851DF67D5}" type="parTrans" cxnId="{162E19D3-BE28-45AF-8342-024E505D4A19}">
      <dgm:prSet/>
      <dgm:spPr/>
      <dgm:t>
        <a:bodyPr/>
        <a:lstStyle/>
        <a:p>
          <a:endParaRPr lang="en-US"/>
        </a:p>
      </dgm:t>
    </dgm:pt>
    <dgm:pt modelId="{F102DE90-38E5-42A2-9767-FCD51E4DDC36}" type="sibTrans" cxnId="{162E19D3-BE28-45AF-8342-024E505D4A19}">
      <dgm:prSet/>
      <dgm:spPr/>
      <dgm:t>
        <a:bodyPr/>
        <a:lstStyle/>
        <a:p>
          <a:endParaRPr lang="en-US"/>
        </a:p>
      </dgm:t>
    </dgm:pt>
    <dgm:pt modelId="{B1B4CB46-432C-4CED-B4B9-52542D44775A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dirty="0"/>
            <a:t>Build for long term</a:t>
          </a:r>
        </a:p>
      </dgm:t>
    </dgm:pt>
    <dgm:pt modelId="{2C76A930-FBEF-4B49-8EC5-424C811A83F1}" type="parTrans" cxnId="{AC09B681-BD50-459F-AB66-3782751144FF}">
      <dgm:prSet/>
      <dgm:spPr/>
      <dgm:t>
        <a:bodyPr/>
        <a:lstStyle/>
        <a:p>
          <a:endParaRPr lang="en-US"/>
        </a:p>
      </dgm:t>
    </dgm:pt>
    <dgm:pt modelId="{F4C7464F-563E-4055-B2C6-43B1CAC3D62F}" type="sibTrans" cxnId="{AC09B681-BD50-459F-AB66-3782751144FF}">
      <dgm:prSet/>
      <dgm:spPr/>
      <dgm:t>
        <a:bodyPr/>
        <a:lstStyle/>
        <a:p>
          <a:endParaRPr lang="en-US"/>
        </a:p>
      </dgm:t>
    </dgm:pt>
    <dgm:pt modelId="{9D5EAB3D-F02A-454F-80AA-61F96F2BDBE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ulture of learning</a:t>
          </a:r>
        </a:p>
        <a:p>
          <a:pPr>
            <a:lnSpc>
              <a:spcPct val="100000"/>
            </a:lnSpc>
          </a:pPr>
          <a:r>
            <a:rPr lang="en-US" dirty="0"/>
            <a:t>Culture of working together</a:t>
          </a:r>
        </a:p>
        <a:p>
          <a:pPr>
            <a:lnSpc>
              <a:spcPct val="100000"/>
            </a:lnSpc>
          </a:pPr>
          <a:r>
            <a:rPr lang="en-US" dirty="0"/>
            <a:t>Be an example</a:t>
          </a:r>
        </a:p>
      </dgm:t>
    </dgm:pt>
    <dgm:pt modelId="{DB300381-1C7C-4C6B-9E56-BB247E2FC095}" type="parTrans" cxnId="{127FAFDC-8315-48E8-B808-D1B1E66090C2}">
      <dgm:prSet/>
      <dgm:spPr/>
      <dgm:t>
        <a:bodyPr/>
        <a:lstStyle/>
        <a:p>
          <a:endParaRPr lang="en-US"/>
        </a:p>
      </dgm:t>
    </dgm:pt>
    <dgm:pt modelId="{2EB999F2-A4AA-446A-B2F2-B618769DDB6A}" type="sibTrans" cxnId="{127FAFDC-8315-48E8-B808-D1B1E66090C2}">
      <dgm:prSet/>
      <dgm:spPr/>
      <dgm:t>
        <a:bodyPr/>
        <a:lstStyle/>
        <a:p>
          <a:endParaRPr lang="en-US"/>
        </a:p>
      </dgm:t>
    </dgm:pt>
    <dgm:pt modelId="{B3E4AAF2-B5B5-4849-9638-326B27E89644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Involve teams in hiring</a:t>
          </a:r>
        </a:p>
      </dgm:t>
    </dgm:pt>
    <dgm:pt modelId="{5B8F6297-8794-A04A-95D6-7F1D7C3832DD}" type="parTrans" cxnId="{8D3629B7-57EB-E744-B307-047B76B23B31}">
      <dgm:prSet/>
      <dgm:spPr/>
      <dgm:t>
        <a:bodyPr/>
        <a:lstStyle/>
        <a:p>
          <a:endParaRPr lang="en-GB"/>
        </a:p>
      </dgm:t>
    </dgm:pt>
    <dgm:pt modelId="{DDB7C464-5433-B246-8D2C-E5AD94927A92}" type="sibTrans" cxnId="{8D3629B7-57EB-E744-B307-047B76B23B31}">
      <dgm:prSet/>
      <dgm:spPr/>
      <dgm:t>
        <a:bodyPr/>
        <a:lstStyle/>
        <a:p>
          <a:endParaRPr lang="en-GB"/>
        </a:p>
      </dgm:t>
    </dgm:pt>
    <dgm:pt modelId="{191449EF-41CB-4D97-8DCD-ADA319922F3E}" type="pres">
      <dgm:prSet presAssocID="{9A5C5CA7-AE1C-4134-8811-12280C666431}" presName="root" presStyleCnt="0">
        <dgm:presLayoutVars>
          <dgm:dir/>
          <dgm:resizeHandles val="exact"/>
        </dgm:presLayoutVars>
      </dgm:prSet>
      <dgm:spPr/>
    </dgm:pt>
    <dgm:pt modelId="{AD5F4F99-4431-4E98-96A2-EDEF5CBBC255}" type="pres">
      <dgm:prSet presAssocID="{B9AEEDBD-522D-48B8-8D07-CE7F2C2B3473}" presName="compNode" presStyleCnt="0"/>
      <dgm:spPr/>
    </dgm:pt>
    <dgm:pt modelId="{C6D3E28F-66ED-4430-9F23-E2E750C1905A}" type="pres">
      <dgm:prSet presAssocID="{B9AEEDBD-522D-48B8-8D07-CE7F2C2B3473}" presName="iconRect" presStyleLbl="node1" presStyleIdx="0" presStyleCnt="3" custLinFactNeighborX="5667" custLinFactNeighborY="-63"/>
      <dgm:spPr>
        <a:blipFill rotWithShape="1"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C7F3A578-0B65-4B0F-8C0E-9BFCE4EB2A74}" type="pres">
      <dgm:prSet presAssocID="{B9AEEDBD-522D-48B8-8D07-CE7F2C2B3473}" presName="iconSpace" presStyleCnt="0"/>
      <dgm:spPr/>
    </dgm:pt>
    <dgm:pt modelId="{9A1C80D7-881F-4DD2-BB15-426C9A2EE050}" type="pres">
      <dgm:prSet presAssocID="{B9AEEDBD-522D-48B8-8D07-CE7F2C2B3473}" presName="parTx" presStyleLbl="revTx" presStyleIdx="0" presStyleCnt="6">
        <dgm:presLayoutVars>
          <dgm:chMax val="0"/>
          <dgm:chPref val="0"/>
        </dgm:presLayoutVars>
      </dgm:prSet>
      <dgm:spPr/>
    </dgm:pt>
    <dgm:pt modelId="{EE4F84BE-EEB5-4991-9DA4-353627E9DC3A}" type="pres">
      <dgm:prSet presAssocID="{B9AEEDBD-522D-48B8-8D07-CE7F2C2B3473}" presName="txSpace" presStyleCnt="0"/>
      <dgm:spPr/>
    </dgm:pt>
    <dgm:pt modelId="{A16FEF08-AB20-4A12-B0DD-885983425DD0}" type="pres">
      <dgm:prSet presAssocID="{B9AEEDBD-522D-48B8-8D07-CE7F2C2B3473}" presName="desTx" presStyleLbl="revTx" presStyleIdx="1" presStyleCnt="6">
        <dgm:presLayoutVars/>
      </dgm:prSet>
      <dgm:spPr/>
    </dgm:pt>
    <dgm:pt modelId="{176F12E7-0994-4DEB-A55A-68FEE04D173C}" type="pres">
      <dgm:prSet presAssocID="{7C0D988D-417B-47DA-AFF3-53D1CAF6AB26}" presName="sibTrans" presStyleCnt="0"/>
      <dgm:spPr/>
    </dgm:pt>
    <dgm:pt modelId="{41D46860-8314-4F2D-ABBE-BE5ACE7FB9DA}" type="pres">
      <dgm:prSet presAssocID="{616BA953-15CB-4E40-A412-40073C8BAD05}" presName="compNode" presStyleCnt="0"/>
      <dgm:spPr/>
    </dgm:pt>
    <dgm:pt modelId="{353A2F9E-9A72-440F-ADF9-2E92EBF8DA6A}" type="pres">
      <dgm:prSet presAssocID="{616BA953-15CB-4E40-A412-40073C8BAD05}" presName="iconRect" presStyleLbl="node1" presStyleIdx="1" presStyleCnt="3"/>
      <dgm:spPr>
        <a:blipFill rotWithShape="1"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B6D41736-8628-473C-BCAB-9917EF4685C7}" type="pres">
      <dgm:prSet presAssocID="{616BA953-15CB-4E40-A412-40073C8BAD05}" presName="iconSpace" presStyleCnt="0"/>
      <dgm:spPr/>
    </dgm:pt>
    <dgm:pt modelId="{616F37C7-5710-4A43-87FE-F70940F549BE}" type="pres">
      <dgm:prSet presAssocID="{616BA953-15CB-4E40-A412-40073C8BAD05}" presName="parTx" presStyleLbl="revTx" presStyleIdx="2" presStyleCnt="6">
        <dgm:presLayoutVars>
          <dgm:chMax val="0"/>
          <dgm:chPref val="0"/>
        </dgm:presLayoutVars>
      </dgm:prSet>
      <dgm:spPr/>
    </dgm:pt>
    <dgm:pt modelId="{87486A2F-B51D-40F0-9FBA-E187B799B830}" type="pres">
      <dgm:prSet presAssocID="{616BA953-15CB-4E40-A412-40073C8BAD05}" presName="txSpace" presStyleCnt="0"/>
      <dgm:spPr/>
    </dgm:pt>
    <dgm:pt modelId="{B09CB533-5EC3-410D-AB46-E71343AACD2B}" type="pres">
      <dgm:prSet presAssocID="{616BA953-15CB-4E40-A412-40073C8BAD05}" presName="desTx" presStyleLbl="revTx" presStyleIdx="3" presStyleCnt="6">
        <dgm:presLayoutVars/>
      </dgm:prSet>
      <dgm:spPr/>
    </dgm:pt>
    <dgm:pt modelId="{72D1864C-59C2-48E1-9757-EAB2006BD872}" type="pres">
      <dgm:prSet presAssocID="{724DE97E-D40A-4407-BF22-6DBF6E5C5CFF}" presName="sibTrans" presStyleCnt="0"/>
      <dgm:spPr/>
    </dgm:pt>
    <dgm:pt modelId="{5BB24625-8E54-4E22-9328-466A49ADA889}" type="pres">
      <dgm:prSet presAssocID="{B1B4CB46-432C-4CED-B4B9-52542D44775A}" presName="compNode" presStyleCnt="0"/>
      <dgm:spPr/>
    </dgm:pt>
    <dgm:pt modelId="{0F7B80D9-9B73-4015-AF4F-0BD783C4E57F}" type="pres">
      <dgm:prSet presAssocID="{B1B4CB46-432C-4CED-B4B9-52542D44775A}" presName="iconRect" presStyleLbl="node1" presStyleIdx="2" presStyleCnt="3"/>
      <dgm:spPr>
        <a:blipFill rotWithShape="1"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1EAF6D93-8E48-48A1-AE75-F54D7DF984A1}" type="pres">
      <dgm:prSet presAssocID="{B1B4CB46-432C-4CED-B4B9-52542D44775A}" presName="iconSpace" presStyleCnt="0"/>
      <dgm:spPr/>
    </dgm:pt>
    <dgm:pt modelId="{DF222537-EF68-4F38-B7EB-F496303C1D16}" type="pres">
      <dgm:prSet presAssocID="{B1B4CB46-432C-4CED-B4B9-52542D44775A}" presName="parTx" presStyleLbl="revTx" presStyleIdx="4" presStyleCnt="6">
        <dgm:presLayoutVars>
          <dgm:chMax val="0"/>
          <dgm:chPref val="0"/>
        </dgm:presLayoutVars>
      </dgm:prSet>
      <dgm:spPr/>
    </dgm:pt>
    <dgm:pt modelId="{8D909812-9384-4096-B6EE-415FDB757B71}" type="pres">
      <dgm:prSet presAssocID="{B1B4CB46-432C-4CED-B4B9-52542D44775A}" presName="txSpace" presStyleCnt="0"/>
      <dgm:spPr/>
    </dgm:pt>
    <dgm:pt modelId="{DF5C221C-E912-4B94-BCD3-94635060BF63}" type="pres">
      <dgm:prSet presAssocID="{B1B4CB46-432C-4CED-B4B9-52542D44775A}" presName="desTx" presStyleLbl="revTx" presStyleIdx="5" presStyleCnt="6">
        <dgm:presLayoutVars/>
      </dgm:prSet>
      <dgm:spPr/>
    </dgm:pt>
  </dgm:ptLst>
  <dgm:cxnLst>
    <dgm:cxn modelId="{01FB7800-3CBB-0B4A-AB41-FFCEB2061694}" type="presOf" srcId="{9A5C5CA7-AE1C-4134-8811-12280C666431}" destId="{191449EF-41CB-4D97-8DCD-ADA319922F3E}" srcOrd="0" destOrd="0" presId="urn:microsoft.com/office/officeart/2018/5/layout/CenteredIconLabelDescriptionList"/>
    <dgm:cxn modelId="{B1C96009-3AD0-A742-BA88-19FF55E1C846}" type="presOf" srcId="{9D5EAB3D-F02A-454F-80AA-61F96F2BDBEB}" destId="{DF5C221C-E912-4B94-BCD3-94635060BF63}" srcOrd="0" destOrd="0" presId="urn:microsoft.com/office/officeart/2018/5/layout/CenteredIconLabelDescriptionList"/>
    <dgm:cxn modelId="{C02C4B3F-759A-2945-84B7-23B6B2540AD2}" type="presOf" srcId="{B9AEEDBD-522D-48B8-8D07-CE7F2C2B3473}" destId="{9A1C80D7-881F-4DD2-BB15-426C9A2EE050}" srcOrd="0" destOrd="0" presId="urn:microsoft.com/office/officeart/2018/5/layout/CenteredIconLabelDescriptionList"/>
    <dgm:cxn modelId="{D7277E66-68AD-BD49-ADE4-A1FCD3CC1F0D}" type="presOf" srcId="{B1B4CB46-432C-4CED-B4B9-52542D44775A}" destId="{DF222537-EF68-4F38-B7EB-F496303C1D16}" srcOrd="0" destOrd="0" presId="urn:microsoft.com/office/officeart/2018/5/layout/CenteredIconLabelDescriptionList"/>
    <dgm:cxn modelId="{3D3AA87F-BA52-1B48-8F53-F1F0D337F865}" type="presOf" srcId="{616BA953-15CB-4E40-A412-40073C8BAD05}" destId="{616F37C7-5710-4A43-87FE-F70940F549BE}" srcOrd="0" destOrd="0" presId="urn:microsoft.com/office/officeart/2018/5/layout/CenteredIconLabelDescriptionList"/>
    <dgm:cxn modelId="{AC09B681-BD50-459F-AB66-3782751144FF}" srcId="{9A5C5CA7-AE1C-4134-8811-12280C666431}" destId="{B1B4CB46-432C-4CED-B4B9-52542D44775A}" srcOrd="2" destOrd="0" parTransId="{2C76A930-FBEF-4B49-8EC5-424C811A83F1}" sibTransId="{F4C7464F-563E-4055-B2C6-43B1CAC3D62F}"/>
    <dgm:cxn modelId="{86300A83-EF9C-4545-9586-78719C735EAD}" type="presOf" srcId="{B3E4AAF2-B5B5-4849-9638-326B27E89644}" destId="{A16FEF08-AB20-4A12-B0DD-885983425DD0}" srcOrd="0" destOrd="0" presId="urn:microsoft.com/office/officeart/2018/5/layout/CenteredIconLabelDescriptionList"/>
    <dgm:cxn modelId="{CD83568B-06F2-402D-A644-1500368D528B}" srcId="{9A5C5CA7-AE1C-4134-8811-12280C666431}" destId="{616BA953-15CB-4E40-A412-40073C8BAD05}" srcOrd="1" destOrd="0" parTransId="{82832AE6-2729-4012-B4FE-C2B9495DC5C2}" sibTransId="{724DE97E-D40A-4407-BF22-6DBF6E5C5CFF}"/>
    <dgm:cxn modelId="{8D3629B7-57EB-E744-B307-047B76B23B31}" srcId="{B9AEEDBD-522D-48B8-8D07-CE7F2C2B3473}" destId="{B3E4AAF2-B5B5-4849-9638-326B27E89644}" srcOrd="0" destOrd="0" parTransId="{5B8F6297-8794-A04A-95D6-7F1D7C3832DD}" sibTransId="{DDB7C464-5433-B246-8D2C-E5AD94927A92}"/>
    <dgm:cxn modelId="{21B9B2C3-7CB1-4C2C-B7BB-C050AF6AF58D}" srcId="{9A5C5CA7-AE1C-4134-8811-12280C666431}" destId="{B9AEEDBD-522D-48B8-8D07-CE7F2C2B3473}" srcOrd="0" destOrd="0" parTransId="{C3287BBA-8C31-4A5C-87CA-F92560CB2EBD}" sibTransId="{7C0D988D-417B-47DA-AFF3-53D1CAF6AB26}"/>
    <dgm:cxn modelId="{162E19D3-BE28-45AF-8342-024E505D4A19}" srcId="{616BA953-15CB-4E40-A412-40073C8BAD05}" destId="{F436C68A-7E9A-440A-BDC7-5EE5C9C7FA91}" srcOrd="0" destOrd="0" parTransId="{B239B838-01E7-4294-A52D-E86851DF67D5}" sibTransId="{F102DE90-38E5-42A2-9767-FCD51E4DDC36}"/>
    <dgm:cxn modelId="{127FAFDC-8315-48E8-B808-D1B1E66090C2}" srcId="{B1B4CB46-432C-4CED-B4B9-52542D44775A}" destId="{9D5EAB3D-F02A-454F-80AA-61F96F2BDBEB}" srcOrd="0" destOrd="0" parTransId="{DB300381-1C7C-4C6B-9E56-BB247E2FC095}" sibTransId="{2EB999F2-A4AA-446A-B2F2-B618769DDB6A}"/>
    <dgm:cxn modelId="{2C7676FC-E54D-154F-9FB3-4FFE03C799FE}" type="presOf" srcId="{F436C68A-7E9A-440A-BDC7-5EE5C9C7FA91}" destId="{B09CB533-5EC3-410D-AB46-E71343AACD2B}" srcOrd="0" destOrd="0" presId="urn:microsoft.com/office/officeart/2018/5/layout/CenteredIconLabelDescriptionList"/>
    <dgm:cxn modelId="{42CB5C3E-3B76-FB47-A138-B4A5E1C74DDF}" type="presParOf" srcId="{191449EF-41CB-4D97-8DCD-ADA319922F3E}" destId="{AD5F4F99-4431-4E98-96A2-EDEF5CBBC255}" srcOrd="0" destOrd="0" presId="urn:microsoft.com/office/officeart/2018/5/layout/CenteredIconLabelDescriptionList"/>
    <dgm:cxn modelId="{9DC01D61-60BD-B442-8EFC-C29A1C8F8EB4}" type="presParOf" srcId="{AD5F4F99-4431-4E98-96A2-EDEF5CBBC255}" destId="{C6D3E28F-66ED-4430-9F23-E2E750C1905A}" srcOrd="0" destOrd="0" presId="urn:microsoft.com/office/officeart/2018/5/layout/CenteredIconLabelDescriptionList"/>
    <dgm:cxn modelId="{7BF10D7D-9FD5-2B48-BF2B-42687AA81D07}" type="presParOf" srcId="{AD5F4F99-4431-4E98-96A2-EDEF5CBBC255}" destId="{C7F3A578-0B65-4B0F-8C0E-9BFCE4EB2A74}" srcOrd="1" destOrd="0" presId="urn:microsoft.com/office/officeart/2018/5/layout/CenteredIconLabelDescriptionList"/>
    <dgm:cxn modelId="{0E20F706-0EBA-344D-9A16-5320FE1EF646}" type="presParOf" srcId="{AD5F4F99-4431-4E98-96A2-EDEF5CBBC255}" destId="{9A1C80D7-881F-4DD2-BB15-426C9A2EE050}" srcOrd="2" destOrd="0" presId="urn:microsoft.com/office/officeart/2018/5/layout/CenteredIconLabelDescriptionList"/>
    <dgm:cxn modelId="{94490239-8EBE-5548-8595-BA3F4A4B688A}" type="presParOf" srcId="{AD5F4F99-4431-4E98-96A2-EDEF5CBBC255}" destId="{EE4F84BE-EEB5-4991-9DA4-353627E9DC3A}" srcOrd="3" destOrd="0" presId="urn:microsoft.com/office/officeart/2018/5/layout/CenteredIconLabelDescriptionList"/>
    <dgm:cxn modelId="{414FDE06-EDB8-EC49-81E2-B43A178F9508}" type="presParOf" srcId="{AD5F4F99-4431-4E98-96A2-EDEF5CBBC255}" destId="{A16FEF08-AB20-4A12-B0DD-885983425DD0}" srcOrd="4" destOrd="0" presId="urn:microsoft.com/office/officeart/2018/5/layout/CenteredIconLabelDescriptionList"/>
    <dgm:cxn modelId="{AB015BD5-E075-1641-9992-25AA3FD5D21F}" type="presParOf" srcId="{191449EF-41CB-4D97-8DCD-ADA319922F3E}" destId="{176F12E7-0994-4DEB-A55A-68FEE04D173C}" srcOrd="1" destOrd="0" presId="urn:microsoft.com/office/officeart/2018/5/layout/CenteredIconLabelDescriptionList"/>
    <dgm:cxn modelId="{CF5E67A6-2903-764F-9FB4-5CA49A9834DF}" type="presParOf" srcId="{191449EF-41CB-4D97-8DCD-ADA319922F3E}" destId="{41D46860-8314-4F2D-ABBE-BE5ACE7FB9DA}" srcOrd="2" destOrd="0" presId="urn:microsoft.com/office/officeart/2018/5/layout/CenteredIconLabelDescriptionList"/>
    <dgm:cxn modelId="{525C2BFC-841D-574F-8587-752ABAEC2BE9}" type="presParOf" srcId="{41D46860-8314-4F2D-ABBE-BE5ACE7FB9DA}" destId="{353A2F9E-9A72-440F-ADF9-2E92EBF8DA6A}" srcOrd="0" destOrd="0" presId="urn:microsoft.com/office/officeart/2018/5/layout/CenteredIconLabelDescriptionList"/>
    <dgm:cxn modelId="{00CB4145-FB0B-644E-8A3C-97E291D996BC}" type="presParOf" srcId="{41D46860-8314-4F2D-ABBE-BE5ACE7FB9DA}" destId="{B6D41736-8628-473C-BCAB-9917EF4685C7}" srcOrd="1" destOrd="0" presId="urn:microsoft.com/office/officeart/2018/5/layout/CenteredIconLabelDescriptionList"/>
    <dgm:cxn modelId="{5C5733AE-FA24-4B4C-8005-33DB4439C2B8}" type="presParOf" srcId="{41D46860-8314-4F2D-ABBE-BE5ACE7FB9DA}" destId="{616F37C7-5710-4A43-87FE-F70940F549BE}" srcOrd="2" destOrd="0" presId="urn:microsoft.com/office/officeart/2018/5/layout/CenteredIconLabelDescriptionList"/>
    <dgm:cxn modelId="{5B9BC1FB-DA86-EC49-A68C-CB2CA0767009}" type="presParOf" srcId="{41D46860-8314-4F2D-ABBE-BE5ACE7FB9DA}" destId="{87486A2F-B51D-40F0-9FBA-E187B799B830}" srcOrd="3" destOrd="0" presId="urn:microsoft.com/office/officeart/2018/5/layout/CenteredIconLabelDescriptionList"/>
    <dgm:cxn modelId="{423B1F3C-5F4A-1646-BE2F-BB653B7948C4}" type="presParOf" srcId="{41D46860-8314-4F2D-ABBE-BE5ACE7FB9DA}" destId="{B09CB533-5EC3-410D-AB46-E71343AACD2B}" srcOrd="4" destOrd="0" presId="urn:microsoft.com/office/officeart/2018/5/layout/CenteredIconLabelDescriptionList"/>
    <dgm:cxn modelId="{F09A3D11-097A-AC4B-8C72-189C3CCC1C34}" type="presParOf" srcId="{191449EF-41CB-4D97-8DCD-ADA319922F3E}" destId="{72D1864C-59C2-48E1-9757-EAB2006BD872}" srcOrd="3" destOrd="0" presId="urn:microsoft.com/office/officeart/2018/5/layout/CenteredIconLabelDescriptionList"/>
    <dgm:cxn modelId="{56D0D285-8C1D-1341-9329-A7E13DAB4E5A}" type="presParOf" srcId="{191449EF-41CB-4D97-8DCD-ADA319922F3E}" destId="{5BB24625-8E54-4E22-9328-466A49ADA889}" srcOrd="4" destOrd="0" presId="urn:microsoft.com/office/officeart/2018/5/layout/CenteredIconLabelDescriptionList"/>
    <dgm:cxn modelId="{F1D33F02-8D74-E744-9AE0-4B020CD9ABE3}" type="presParOf" srcId="{5BB24625-8E54-4E22-9328-466A49ADA889}" destId="{0F7B80D9-9B73-4015-AF4F-0BD783C4E57F}" srcOrd="0" destOrd="0" presId="urn:microsoft.com/office/officeart/2018/5/layout/CenteredIconLabelDescriptionList"/>
    <dgm:cxn modelId="{CCDE6F33-EE81-ED43-9432-77F438848318}" type="presParOf" srcId="{5BB24625-8E54-4E22-9328-466A49ADA889}" destId="{1EAF6D93-8E48-48A1-AE75-F54D7DF984A1}" srcOrd="1" destOrd="0" presId="urn:microsoft.com/office/officeart/2018/5/layout/CenteredIconLabelDescriptionList"/>
    <dgm:cxn modelId="{8653A3D7-F44F-C84E-B6FC-45699806F732}" type="presParOf" srcId="{5BB24625-8E54-4E22-9328-466A49ADA889}" destId="{DF222537-EF68-4F38-B7EB-F496303C1D16}" srcOrd="2" destOrd="0" presId="urn:microsoft.com/office/officeart/2018/5/layout/CenteredIconLabelDescriptionList"/>
    <dgm:cxn modelId="{0FA01B9A-63A7-C743-BBCC-B77D2BBDB081}" type="presParOf" srcId="{5BB24625-8E54-4E22-9328-466A49ADA889}" destId="{8D909812-9384-4096-B6EE-415FDB757B71}" srcOrd="3" destOrd="0" presId="urn:microsoft.com/office/officeart/2018/5/layout/CenteredIconLabelDescriptionList"/>
    <dgm:cxn modelId="{09C75C53-03A6-DC49-9A3B-C77741226DD8}" type="presParOf" srcId="{5BB24625-8E54-4E22-9328-466A49ADA889}" destId="{DF5C221C-E912-4B94-BCD3-94635060BF63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FFD4F59-2382-FB4E-88F3-4DD4EAD83476}" type="doc">
      <dgm:prSet loTypeId="urn:microsoft.com/office/officeart/2005/8/layout/vProcess5" loCatId="relationship" qsTypeId="urn:microsoft.com/office/officeart/2005/8/quickstyle/simple4" qsCatId="simple" csTypeId="urn:microsoft.com/office/officeart/2005/8/colors/accent0_2" csCatId="mainScheme" phldr="1"/>
      <dgm:spPr/>
    </dgm:pt>
    <dgm:pt modelId="{5F3BA67A-4983-564A-9E59-92AFB430C1EC}">
      <dgm:prSet phldrT="[Text]"/>
      <dgm:spPr/>
      <dgm:t>
        <a:bodyPr/>
        <a:lstStyle/>
        <a:p>
          <a:r>
            <a:rPr lang="fi-FI" dirty="0"/>
            <a:t>Basics in </a:t>
          </a:r>
          <a:r>
            <a:rPr lang="fi-FI" dirty="0" err="1"/>
            <a:t>place</a:t>
          </a:r>
          <a:r>
            <a:rPr lang="fi-FI" dirty="0"/>
            <a:t>: </a:t>
          </a:r>
          <a:r>
            <a:rPr lang="fi-FI" dirty="0" err="1"/>
            <a:t>Agile</a:t>
          </a:r>
          <a:r>
            <a:rPr lang="fi-FI" dirty="0"/>
            <a:t> &amp; ci</a:t>
          </a:r>
          <a:endParaRPr lang="en-GB" dirty="0"/>
        </a:p>
      </dgm:t>
    </dgm:pt>
    <dgm:pt modelId="{48938ADE-093D-2C47-88BD-7C0FD17E8455}" type="parTrans" cxnId="{1846567F-6AF6-1C4A-ABBF-82FAED867C8F}">
      <dgm:prSet/>
      <dgm:spPr/>
      <dgm:t>
        <a:bodyPr/>
        <a:lstStyle/>
        <a:p>
          <a:endParaRPr lang="en-GB"/>
        </a:p>
      </dgm:t>
    </dgm:pt>
    <dgm:pt modelId="{08C8393B-2759-A448-A5B4-8588A53FA6D0}" type="sibTrans" cxnId="{1846567F-6AF6-1C4A-ABBF-82FAED867C8F}">
      <dgm:prSet/>
      <dgm:spPr>
        <a:solidFill>
          <a:schemeClr val="lt1">
            <a:tint val="40000"/>
            <a:hueOff val="0"/>
            <a:satOff val="0"/>
            <a:lumOff val="0"/>
          </a:schemeClr>
        </a:solidFill>
      </dgm:spPr>
      <dgm:t>
        <a:bodyPr/>
        <a:lstStyle/>
        <a:p>
          <a:endParaRPr lang="en-GB"/>
        </a:p>
      </dgm:t>
    </dgm:pt>
    <dgm:pt modelId="{D8F43EC3-6A2B-314D-9AF7-5DA07BE29659}">
      <dgm:prSet/>
      <dgm:spPr/>
      <dgm:t>
        <a:bodyPr/>
        <a:lstStyle/>
        <a:p>
          <a:r>
            <a:rPr lang="fi-FI" dirty="0"/>
            <a:t>Technology </a:t>
          </a:r>
          <a:r>
            <a:rPr lang="fi-FI" dirty="0" err="1"/>
            <a:t>aspects</a:t>
          </a:r>
          <a:endParaRPr lang="fi-FI" dirty="0"/>
        </a:p>
      </dgm:t>
    </dgm:pt>
    <dgm:pt modelId="{C86C1EF5-AEB4-1E4B-A8F4-7E22DFE93959}" type="parTrans" cxnId="{BA56F6B2-704D-FF4D-B5FA-91B7B9AF248A}">
      <dgm:prSet/>
      <dgm:spPr/>
      <dgm:t>
        <a:bodyPr/>
        <a:lstStyle/>
        <a:p>
          <a:endParaRPr lang="en-GB"/>
        </a:p>
      </dgm:t>
    </dgm:pt>
    <dgm:pt modelId="{CBF62BC2-07D8-034C-9868-E9396EF72EE8}" type="sibTrans" cxnId="{BA56F6B2-704D-FF4D-B5FA-91B7B9AF248A}">
      <dgm:prSet/>
      <dgm:spPr/>
      <dgm:t>
        <a:bodyPr/>
        <a:lstStyle/>
        <a:p>
          <a:endParaRPr lang="en-GB"/>
        </a:p>
      </dgm:t>
    </dgm:pt>
    <dgm:pt modelId="{475EDCC1-55C8-CD4E-BE03-55C97B853861}">
      <dgm:prSet/>
      <dgm:spPr/>
      <dgm:t>
        <a:bodyPr/>
        <a:lstStyle/>
        <a:p>
          <a:r>
            <a:rPr lang="fi-FI" dirty="0" err="1"/>
            <a:t>Ways</a:t>
          </a:r>
          <a:r>
            <a:rPr lang="fi-FI" dirty="0"/>
            <a:t> of </a:t>
          </a:r>
          <a:r>
            <a:rPr lang="fi-FI" dirty="0" err="1"/>
            <a:t>working</a:t>
          </a:r>
          <a:r>
            <a:rPr lang="fi-FI" dirty="0"/>
            <a:t> </a:t>
          </a:r>
          <a:r>
            <a:rPr lang="fi-FI" dirty="0" err="1"/>
            <a:t>aspects</a:t>
          </a:r>
          <a:endParaRPr lang="fi-FI" dirty="0"/>
        </a:p>
      </dgm:t>
    </dgm:pt>
    <dgm:pt modelId="{618A75CE-4AB1-2C4C-9705-57A2B2BC903C}" type="parTrans" cxnId="{72485610-BF29-C14E-BEF8-B226CF9CDA1F}">
      <dgm:prSet/>
      <dgm:spPr/>
      <dgm:t>
        <a:bodyPr/>
        <a:lstStyle/>
        <a:p>
          <a:endParaRPr lang="en-GB"/>
        </a:p>
      </dgm:t>
    </dgm:pt>
    <dgm:pt modelId="{7091E155-E413-F54F-9421-BAB96C9B755C}" type="sibTrans" cxnId="{72485610-BF29-C14E-BEF8-B226CF9CDA1F}">
      <dgm:prSet/>
      <dgm:spPr/>
      <dgm:t>
        <a:bodyPr/>
        <a:lstStyle/>
        <a:p>
          <a:endParaRPr lang="en-GB"/>
        </a:p>
      </dgm:t>
    </dgm:pt>
    <dgm:pt modelId="{B8B011CC-6DE7-EB49-B28F-A1F9F7DD6C69}">
      <dgm:prSet phldrT="[Text]"/>
      <dgm:spPr/>
      <dgm:t>
        <a:bodyPr/>
        <a:lstStyle/>
        <a:p>
          <a:r>
            <a:rPr lang="fi-FI" dirty="0" err="1"/>
            <a:t>Scaling</a:t>
          </a:r>
          <a:r>
            <a:rPr lang="fi-FI" dirty="0"/>
            <a:t> to </a:t>
          </a:r>
          <a:r>
            <a:rPr lang="fi-FI" dirty="0" err="1"/>
            <a:t>multiple</a:t>
          </a:r>
          <a:r>
            <a:rPr lang="fi-FI" dirty="0"/>
            <a:t> </a:t>
          </a:r>
          <a:r>
            <a:rPr lang="fi-FI" dirty="0" err="1"/>
            <a:t>teams</a:t>
          </a:r>
          <a:endParaRPr lang="en-GB" dirty="0"/>
        </a:p>
      </dgm:t>
    </dgm:pt>
    <dgm:pt modelId="{0739102D-2AE7-A24A-B469-907423493D9D}" type="parTrans" cxnId="{290A56EF-242C-F147-AD6C-2D98A0D1523A}">
      <dgm:prSet/>
      <dgm:spPr/>
      <dgm:t>
        <a:bodyPr/>
        <a:lstStyle/>
        <a:p>
          <a:endParaRPr lang="en-GB"/>
        </a:p>
      </dgm:t>
    </dgm:pt>
    <dgm:pt modelId="{BB7421F4-F4B9-E64A-942D-81422B73A810}" type="sibTrans" cxnId="{290A56EF-242C-F147-AD6C-2D98A0D1523A}">
      <dgm:prSet/>
      <dgm:spPr/>
      <dgm:t>
        <a:bodyPr/>
        <a:lstStyle/>
        <a:p>
          <a:endParaRPr lang="en-GB"/>
        </a:p>
      </dgm:t>
    </dgm:pt>
    <dgm:pt modelId="{FA09A596-4BDC-0B46-B594-7A9BD62DEE78}">
      <dgm:prSet/>
      <dgm:spPr/>
      <dgm:t>
        <a:bodyPr/>
        <a:lstStyle/>
        <a:p>
          <a:r>
            <a:rPr lang="fi-FI" dirty="0" err="1"/>
            <a:t>Predictability</a:t>
          </a:r>
          <a:r>
            <a:rPr lang="fi-FI" dirty="0"/>
            <a:t> and </a:t>
          </a:r>
          <a:r>
            <a:rPr lang="fi-FI" dirty="0" err="1"/>
            <a:t>planning</a:t>
          </a:r>
          <a:endParaRPr lang="fi-FI" dirty="0"/>
        </a:p>
      </dgm:t>
    </dgm:pt>
    <dgm:pt modelId="{2ABF32DE-5234-F049-9B5C-7A4FA4F1FE9B}" type="parTrans" cxnId="{D80D2EED-92E3-D94E-979F-5E33C53424CF}">
      <dgm:prSet/>
      <dgm:spPr/>
      <dgm:t>
        <a:bodyPr/>
        <a:lstStyle/>
        <a:p>
          <a:endParaRPr lang="en-GB"/>
        </a:p>
      </dgm:t>
    </dgm:pt>
    <dgm:pt modelId="{801BCE37-AEFD-6140-BEB4-770FA0E6A94E}" type="sibTrans" cxnId="{D80D2EED-92E3-D94E-979F-5E33C53424CF}">
      <dgm:prSet/>
      <dgm:spPr/>
      <dgm:t>
        <a:bodyPr/>
        <a:lstStyle/>
        <a:p>
          <a:endParaRPr lang="en-GB"/>
        </a:p>
      </dgm:t>
    </dgm:pt>
    <dgm:pt modelId="{690F22A6-28D2-5B4E-BB32-117F54D4F3BB}" type="pres">
      <dgm:prSet presAssocID="{2FFD4F59-2382-FB4E-88F3-4DD4EAD83476}" presName="outerComposite" presStyleCnt="0">
        <dgm:presLayoutVars>
          <dgm:chMax val="5"/>
          <dgm:dir/>
          <dgm:resizeHandles val="exact"/>
        </dgm:presLayoutVars>
      </dgm:prSet>
      <dgm:spPr/>
    </dgm:pt>
    <dgm:pt modelId="{43F1772A-977B-C34D-9EEA-56643CF5E03C}" type="pres">
      <dgm:prSet presAssocID="{2FFD4F59-2382-FB4E-88F3-4DD4EAD83476}" presName="dummyMaxCanvas" presStyleCnt="0">
        <dgm:presLayoutVars/>
      </dgm:prSet>
      <dgm:spPr/>
    </dgm:pt>
    <dgm:pt modelId="{593C62CA-51CD-1248-8BE5-9E76FEFF0256}" type="pres">
      <dgm:prSet presAssocID="{2FFD4F59-2382-FB4E-88F3-4DD4EAD83476}" presName="FiveNodes_1" presStyleLbl="node1" presStyleIdx="0" presStyleCnt="5">
        <dgm:presLayoutVars>
          <dgm:bulletEnabled val="1"/>
        </dgm:presLayoutVars>
      </dgm:prSet>
      <dgm:spPr/>
    </dgm:pt>
    <dgm:pt modelId="{E3CB64EE-40D8-F544-8C44-FFFF3ED9C7A9}" type="pres">
      <dgm:prSet presAssocID="{2FFD4F59-2382-FB4E-88F3-4DD4EAD83476}" presName="FiveNodes_2" presStyleLbl="node1" presStyleIdx="1" presStyleCnt="5">
        <dgm:presLayoutVars>
          <dgm:bulletEnabled val="1"/>
        </dgm:presLayoutVars>
      </dgm:prSet>
      <dgm:spPr/>
    </dgm:pt>
    <dgm:pt modelId="{48F347B7-FA9E-594C-8651-65A654F27678}" type="pres">
      <dgm:prSet presAssocID="{2FFD4F59-2382-FB4E-88F3-4DD4EAD83476}" presName="FiveNodes_3" presStyleLbl="node1" presStyleIdx="2" presStyleCnt="5">
        <dgm:presLayoutVars>
          <dgm:bulletEnabled val="1"/>
        </dgm:presLayoutVars>
      </dgm:prSet>
      <dgm:spPr/>
    </dgm:pt>
    <dgm:pt modelId="{394BE473-C6CE-1C49-86C9-567D57B6086D}" type="pres">
      <dgm:prSet presAssocID="{2FFD4F59-2382-FB4E-88F3-4DD4EAD83476}" presName="FiveNodes_4" presStyleLbl="node1" presStyleIdx="3" presStyleCnt="5">
        <dgm:presLayoutVars>
          <dgm:bulletEnabled val="1"/>
        </dgm:presLayoutVars>
      </dgm:prSet>
      <dgm:spPr/>
    </dgm:pt>
    <dgm:pt modelId="{57DAA42B-A210-C14A-B68A-AB361AC9A1BC}" type="pres">
      <dgm:prSet presAssocID="{2FFD4F59-2382-FB4E-88F3-4DD4EAD83476}" presName="FiveNodes_5" presStyleLbl="node1" presStyleIdx="4" presStyleCnt="5">
        <dgm:presLayoutVars>
          <dgm:bulletEnabled val="1"/>
        </dgm:presLayoutVars>
      </dgm:prSet>
      <dgm:spPr/>
    </dgm:pt>
    <dgm:pt modelId="{AD5E6EB9-5C35-1D44-9194-4B687EEEC7E6}" type="pres">
      <dgm:prSet presAssocID="{2FFD4F59-2382-FB4E-88F3-4DD4EAD83476}" presName="FiveConn_1-2" presStyleLbl="fgAccFollowNode1" presStyleIdx="0" presStyleCnt="4">
        <dgm:presLayoutVars>
          <dgm:bulletEnabled val="1"/>
        </dgm:presLayoutVars>
      </dgm:prSet>
      <dgm:spPr/>
    </dgm:pt>
    <dgm:pt modelId="{0F3477F2-43A5-9049-9EB0-AA6D34969FBA}" type="pres">
      <dgm:prSet presAssocID="{2FFD4F59-2382-FB4E-88F3-4DD4EAD83476}" presName="FiveConn_2-3" presStyleLbl="fgAccFollowNode1" presStyleIdx="1" presStyleCnt="4">
        <dgm:presLayoutVars>
          <dgm:bulletEnabled val="1"/>
        </dgm:presLayoutVars>
      </dgm:prSet>
      <dgm:spPr/>
    </dgm:pt>
    <dgm:pt modelId="{175A828D-100B-B74E-B289-7FD64681B39F}" type="pres">
      <dgm:prSet presAssocID="{2FFD4F59-2382-FB4E-88F3-4DD4EAD83476}" presName="FiveConn_3-4" presStyleLbl="fgAccFollowNode1" presStyleIdx="2" presStyleCnt="4">
        <dgm:presLayoutVars>
          <dgm:bulletEnabled val="1"/>
        </dgm:presLayoutVars>
      </dgm:prSet>
      <dgm:spPr/>
    </dgm:pt>
    <dgm:pt modelId="{30D902E0-7F8C-6F4A-A536-4A57329278F1}" type="pres">
      <dgm:prSet presAssocID="{2FFD4F59-2382-FB4E-88F3-4DD4EAD83476}" presName="FiveConn_4-5" presStyleLbl="fgAccFollowNode1" presStyleIdx="3" presStyleCnt="4">
        <dgm:presLayoutVars>
          <dgm:bulletEnabled val="1"/>
        </dgm:presLayoutVars>
      </dgm:prSet>
      <dgm:spPr/>
    </dgm:pt>
    <dgm:pt modelId="{8ECD4038-7C5E-B44F-864A-36BBD3E85B1D}" type="pres">
      <dgm:prSet presAssocID="{2FFD4F59-2382-FB4E-88F3-4DD4EAD83476}" presName="FiveNodes_1_text" presStyleLbl="node1" presStyleIdx="4" presStyleCnt="5">
        <dgm:presLayoutVars>
          <dgm:bulletEnabled val="1"/>
        </dgm:presLayoutVars>
      </dgm:prSet>
      <dgm:spPr/>
    </dgm:pt>
    <dgm:pt modelId="{7A26397C-DCCB-A344-A07E-B6584A1B4A38}" type="pres">
      <dgm:prSet presAssocID="{2FFD4F59-2382-FB4E-88F3-4DD4EAD83476}" presName="FiveNodes_2_text" presStyleLbl="node1" presStyleIdx="4" presStyleCnt="5">
        <dgm:presLayoutVars>
          <dgm:bulletEnabled val="1"/>
        </dgm:presLayoutVars>
      </dgm:prSet>
      <dgm:spPr/>
    </dgm:pt>
    <dgm:pt modelId="{96EBD346-8A15-C64D-AE3D-6A02D8FD7E3E}" type="pres">
      <dgm:prSet presAssocID="{2FFD4F59-2382-FB4E-88F3-4DD4EAD83476}" presName="FiveNodes_3_text" presStyleLbl="node1" presStyleIdx="4" presStyleCnt="5">
        <dgm:presLayoutVars>
          <dgm:bulletEnabled val="1"/>
        </dgm:presLayoutVars>
      </dgm:prSet>
      <dgm:spPr/>
    </dgm:pt>
    <dgm:pt modelId="{F0AE3AD5-BC16-8C47-8D22-A5253598FFAB}" type="pres">
      <dgm:prSet presAssocID="{2FFD4F59-2382-FB4E-88F3-4DD4EAD83476}" presName="FiveNodes_4_text" presStyleLbl="node1" presStyleIdx="4" presStyleCnt="5">
        <dgm:presLayoutVars>
          <dgm:bulletEnabled val="1"/>
        </dgm:presLayoutVars>
      </dgm:prSet>
      <dgm:spPr/>
    </dgm:pt>
    <dgm:pt modelId="{7A6B4247-0A9D-0647-858A-C239ABF54E1C}" type="pres">
      <dgm:prSet presAssocID="{2FFD4F59-2382-FB4E-88F3-4DD4EAD83476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6A33D803-B469-5C4F-9CBE-C3FBE2AAEF1C}" type="presOf" srcId="{B8B011CC-6DE7-EB49-B28F-A1F9F7DD6C69}" destId="{96EBD346-8A15-C64D-AE3D-6A02D8FD7E3E}" srcOrd="1" destOrd="0" presId="urn:microsoft.com/office/officeart/2005/8/layout/vProcess5"/>
    <dgm:cxn modelId="{D5CC8807-A404-594E-B74A-FFC38A4D0145}" type="presOf" srcId="{5F3BA67A-4983-564A-9E59-92AFB430C1EC}" destId="{8ECD4038-7C5E-B44F-864A-36BBD3E85B1D}" srcOrd="1" destOrd="0" presId="urn:microsoft.com/office/officeart/2005/8/layout/vProcess5"/>
    <dgm:cxn modelId="{02B95F08-8D1F-954E-B584-3F731351F7B0}" type="presOf" srcId="{FA09A596-4BDC-0B46-B594-7A9BD62DEE78}" destId="{57DAA42B-A210-C14A-B68A-AB361AC9A1BC}" srcOrd="0" destOrd="0" presId="urn:microsoft.com/office/officeart/2005/8/layout/vProcess5"/>
    <dgm:cxn modelId="{108E800C-7889-194B-A129-EE420C6B3351}" type="presOf" srcId="{BB7421F4-F4B9-E64A-942D-81422B73A810}" destId="{175A828D-100B-B74E-B289-7FD64681B39F}" srcOrd="0" destOrd="0" presId="urn:microsoft.com/office/officeart/2005/8/layout/vProcess5"/>
    <dgm:cxn modelId="{72485610-BF29-C14E-BEF8-B226CF9CDA1F}" srcId="{2FFD4F59-2382-FB4E-88F3-4DD4EAD83476}" destId="{475EDCC1-55C8-CD4E-BE03-55C97B853861}" srcOrd="1" destOrd="0" parTransId="{618A75CE-4AB1-2C4C-9705-57A2B2BC903C}" sibTransId="{7091E155-E413-F54F-9421-BAB96C9B755C}"/>
    <dgm:cxn modelId="{14823817-451C-4B45-BFA6-D862F0F1BBB2}" type="presOf" srcId="{475EDCC1-55C8-CD4E-BE03-55C97B853861}" destId="{E3CB64EE-40D8-F544-8C44-FFFF3ED9C7A9}" srcOrd="0" destOrd="0" presId="urn:microsoft.com/office/officeart/2005/8/layout/vProcess5"/>
    <dgm:cxn modelId="{6CC42D29-ACDA-5249-9D4C-E30E8C5970E2}" type="presOf" srcId="{08C8393B-2759-A448-A5B4-8588A53FA6D0}" destId="{AD5E6EB9-5C35-1D44-9194-4B687EEEC7E6}" srcOrd="0" destOrd="0" presId="urn:microsoft.com/office/officeart/2005/8/layout/vProcess5"/>
    <dgm:cxn modelId="{3FE5FE2B-7302-B641-B2FA-BE5B54C8957C}" type="presOf" srcId="{D8F43EC3-6A2B-314D-9AF7-5DA07BE29659}" destId="{394BE473-C6CE-1C49-86C9-567D57B6086D}" srcOrd="0" destOrd="0" presId="urn:microsoft.com/office/officeart/2005/8/layout/vProcess5"/>
    <dgm:cxn modelId="{7851332F-CCB4-9C4F-AB5B-E9415C98631B}" type="presOf" srcId="{2FFD4F59-2382-FB4E-88F3-4DD4EAD83476}" destId="{690F22A6-28D2-5B4E-BB32-117F54D4F3BB}" srcOrd="0" destOrd="0" presId="urn:microsoft.com/office/officeart/2005/8/layout/vProcess5"/>
    <dgm:cxn modelId="{51F9C83C-FB73-5641-9E35-E95545EE244F}" type="presOf" srcId="{FA09A596-4BDC-0B46-B594-7A9BD62DEE78}" destId="{7A6B4247-0A9D-0647-858A-C239ABF54E1C}" srcOrd="1" destOrd="0" presId="urn:microsoft.com/office/officeart/2005/8/layout/vProcess5"/>
    <dgm:cxn modelId="{FB51A942-0AB7-454E-ACC0-47686D0386C8}" type="presOf" srcId="{5F3BA67A-4983-564A-9E59-92AFB430C1EC}" destId="{593C62CA-51CD-1248-8BE5-9E76FEFF0256}" srcOrd="0" destOrd="0" presId="urn:microsoft.com/office/officeart/2005/8/layout/vProcess5"/>
    <dgm:cxn modelId="{AC62B35A-1AFA-5F4D-B1D5-144625B4EE66}" type="presOf" srcId="{D8F43EC3-6A2B-314D-9AF7-5DA07BE29659}" destId="{F0AE3AD5-BC16-8C47-8D22-A5253598FFAB}" srcOrd="1" destOrd="0" presId="urn:microsoft.com/office/officeart/2005/8/layout/vProcess5"/>
    <dgm:cxn modelId="{4DFC4F5C-AE5A-B24E-BD32-1BC73729770B}" type="presOf" srcId="{7091E155-E413-F54F-9421-BAB96C9B755C}" destId="{0F3477F2-43A5-9049-9EB0-AA6D34969FBA}" srcOrd="0" destOrd="0" presId="urn:microsoft.com/office/officeart/2005/8/layout/vProcess5"/>
    <dgm:cxn modelId="{1846567F-6AF6-1C4A-ABBF-82FAED867C8F}" srcId="{2FFD4F59-2382-FB4E-88F3-4DD4EAD83476}" destId="{5F3BA67A-4983-564A-9E59-92AFB430C1EC}" srcOrd="0" destOrd="0" parTransId="{48938ADE-093D-2C47-88BD-7C0FD17E8455}" sibTransId="{08C8393B-2759-A448-A5B4-8588A53FA6D0}"/>
    <dgm:cxn modelId="{D9078886-22DB-5B4C-8C3D-1E5EF7C9D3C0}" type="presOf" srcId="{CBF62BC2-07D8-034C-9868-E9396EF72EE8}" destId="{30D902E0-7F8C-6F4A-A536-4A57329278F1}" srcOrd="0" destOrd="0" presId="urn:microsoft.com/office/officeart/2005/8/layout/vProcess5"/>
    <dgm:cxn modelId="{7022CEAD-8C3A-0445-A4B2-309112A4E443}" type="presOf" srcId="{475EDCC1-55C8-CD4E-BE03-55C97B853861}" destId="{7A26397C-DCCB-A344-A07E-B6584A1B4A38}" srcOrd="1" destOrd="0" presId="urn:microsoft.com/office/officeart/2005/8/layout/vProcess5"/>
    <dgm:cxn modelId="{BA56F6B2-704D-FF4D-B5FA-91B7B9AF248A}" srcId="{2FFD4F59-2382-FB4E-88F3-4DD4EAD83476}" destId="{D8F43EC3-6A2B-314D-9AF7-5DA07BE29659}" srcOrd="3" destOrd="0" parTransId="{C86C1EF5-AEB4-1E4B-A8F4-7E22DFE93959}" sibTransId="{CBF62BC2-07D8-034C-9868-E9396EF72EE8}"/>
    <dgm:cxn modelId="{5BD12FD8-3DB3-4D49-B654-FE1B46034FC3}" type="presOf" srcId="{B8B011CC-6DE7-EB49-B28F-A1F9F7DD6C69}" destId="{48F347B7-FA9E-594C-8651-65A654F27678}" srcOrd="0" destOrd="0" presId="urn:microsoft.com/office/officeart/2005/8/layout/vProcess5"/>
    <dgm:cxn modelId="{D80D2EED-92E3-D94E-979F-5E33C53424CF}" srcId="{2FFD4F59-2382-FB4E-88F3-4DD4EAD83476}" destId="{FA09A596-4BDC-0B46-B594-7A9BD62DEE78}" srcOrd="4" destOrd="0" parTransId="{2ABF32DE-5234-F049-9B5C-7A4FA4F1FE9B}" sibTransId="{801BCE37-AEFD-6140-BEB4-770FA0E6A94E}"/>
    <dgm:cxn modelId="{290A56EF-242C-F147-AD6C-2D98A0D1523A}" srcId="{2FFD4F59-2382-FB4E-88F3-4DD4EAD83476}" destId="{B8B011CC-6DE7-EB49-B28F-A1F9F7DD6C69}" srcOrd="2" destOrd="0" parTransId="{0739102D-2AE7-A24A-B469-907423493D9D}" sibTransId="{BB7421F4-F4B9-E64A-942D-81422B73A810}"/>
    <dgm:cxn modelId="{6DFFA826-ACDE-814C-899D-42BE366BD04F}" type="presParOf" srcId="{690F22A6-28D2-5B4E-BB32-117F54D4F3BB}" destId="{43F1772A-977B-C34D-9EEA-56643CF5E03C}" srcOrd="0" destOrd="0" presId="urn:microsoft.com/office/officeart/2005/8/layout/vProcess5"/>
    <dgm:cxn modelId="{59915E2F-1A54-BE42-8BDD-694E996DC40A}" type="presParOf" srcId="{690F22A6-28D2-5B4E-BB32-117F54D4F3BB}" destId="{593C62CA-51CD-1248-8BE5-9E76FEFF0256}" srcOrd="1" destOrd="0" presId="urn:microsoft.com/office/officeart/2005/8/layout/vProcess5"/>
    <dgm:cxn modelId="{303B065F-2089-3544-A73A-4674F1B829B2}" type="presParOf" srcId="{690F22A6-28D2-5B4E-BB32-117F54D4F3BB}" destId="{E3CB64EE-40D8-F544-8C44-FFFF3ED9C7A9}" srcOrd="2" destOrd="0" presId="urn:microsoft.com/office/officeart/2005/8/layout/vProcess5"/>
    <dgm:cxn modelId="{388F1FF6-60F7-9042-B94D-DFC24FD3058E}" type="presParOf" srcId="{690F22A6-28D2-5B4E-BB32-117F54D4F3BB}" destId="{48F347B7-FA9E-594C-8651-65A654F27678}" srcOrd="3" destOrd="0" presId="urn:microsoft.com/office/officeart/2005/8/layout/vProcess5"/>
    <dgm:cxn modelId="{18538026-CD33-3E48-BDAD-189EE81CC417}" type="presParOf" srcId="{690F22A6-28D2-5B4E-BB32-117F54D4F3BB}" destId="{394BE473-C6CE-1C49-86C9-567D57B6086D}" srcOrd="4" destOrd="0" presId="urn:microsoft.com/office/officeart/2005/8/layout/vProcess5"/>
    <dgm:cxn modelId="{6FDF5F26-5C5B-8445-8F14-D148D5518644}" type="presParOf" srcId="{690F22A6-28D2-5B4E-BB32-117F54D4F3BB}" destId="{57DAA42B-A210-C14A-B68A-AB361AC9A1BC}" srcOrd="5" destOrd="0" presId="urn:microsoft.com/office/officeart/2005/8/layout/vProcess5"/>
    <dgm:cxn modelId="{41597196-8A25-E749-848A-4A8DED9C9D32}" type="presParOf" srcId="{690F22A6-28D2-5B4E-BB32-117F54D4F3BB}" destId="{AD5E6EB9-5C35-1D44-9194-4B687EEEC7E6}" srcOrd="6" destOrd="0" presId="urn:microsoft.com/office/officeart/2005/8/layout/vProcess5"/>
    <dgm:cxn modelId="{ED28180B-3929-394A-AA26-921220CCAEAD}" type="presParOf" srcId="{690F22A6-28D2-5B4E-BB32-117F54D4F3BB}" destId="{0F3477F2-43A5-9049-9EB0-AA6D34969FBA}" srcOrd="7" destOrd="0" presId="urn:microsoft.com/office/officeart/2005/8/layout/vProcess5"/>
    <dgm:cxn modelId="{8601EA76-4F1B-3A4F-81BD-7DC8A19C1E60}" type="presParOf" srcId="{690F22A6-28D2-5B4E-BB32-117F54D4F3BB}" destId="{175A828D-100B-B74E-B289-7FD64681B39F}" srcOrd="8" destOrd="0" presId="urn:microsoft.com/office/officeart/2005/8/layout/vProcess5"/>
    <dgm:cxn modelId="{78659713-F27B-7540-A953-1FDD9B4A0EDE}" type="presParOf" srcId="{690F22A6-28D2-5B4E-BB32-117F54D4F3BB}" destId="{30D902E0-7F8C-6F4A-A536-4A57329278F1}" srcOrd="9" destOrd="0" presId="urn:microsoft.com/office/officeart/2005/8/layout/vProcess5"/>
    <dgm:cxn modelId="{60619DFD-55BA-F845-BFA9-06C5B3C1587F}" type="presParOf" srcId="{690F22A6-28D2-5B4E-BB32-117F54D4F3BB}" destId="{8ECD4038-7C5E-B44F-864A-36BBD3E85B1D}" srcOrd="10" destOrd="0" presId="urn:microsoft.com/office/officeart/2005/8/layout/vProcess5"/>
    <dgm:cxn modelId="{B0EBE427-898A-FD40-8075-097F1952828B}" type="presParOf" srcId="{690F22A6-28D2-5B4E-BB32-117F54D4F3BB}" destId="{7A26397C-DCCB-A344-A07E-B6584A1B4A38}" srcOrd="11" destOrd="0" presId="urn:microsoft.com/office/officeart/2005/8/layout/vProcess5"/>
    <dgm:cxn modelId="{C9F65758-2236-E049-BB73-B48CA56D406C}" type="presParOf" srcId="{690F22A6-28D2-5B4E-BB32-117F54D4F3BB}" destId="{96EBD346-8A15-C64D-AE3D-6A02D8FD7E3E}" srcOrd="12" destOrd="0" presId="urn:microsoft.com/office/officeart/2005/8/layout/vProcess5"/>
    <dgm:cxn modelId="{F069232F-8385-3246-A831-68C0C61527BB}" type="presParOf" srcId="{690F22A6-28D2-5B4E-BB32-117F54D4F3BB}" destId="{F0AE3AD5-BC16-8C47-8D22-A5253598FFAB}" srcOrd="13" destOrd="0" presId="urn:microsoft.com/office/officeart/2005/8/layout/vProcess5"/>
    <dgm:cxn modelId="{773ADEA9-8F44-DB4B-A1B8-6F7AB6F97689}" type="presParOf" srcId="{690F22A6-28D2-5B4E-BB32-117F54D4F3BB}" destId="{7A6B4247-0A9D-0647-858A-C239ABF54E1C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DA7CA36-F248-8746-B4DE-330F0F992DC9}" type="doc">
      <dgm:prSet loTypeId="urn:microsoft.com/office/officeart/2005/8/layout/pyramid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430E55-43D1-5B47-B31E-F5A4C9D809F5}">
      <dgm:prSet phldrT="[Text]"/>
      <dgm:spPr>
        <a:solidFill>
          <a:schemeClr val="accent2">
            <a:lumMod val="40000"/>
            <a:lumOff val="60000"/>
          </a:schemeClr>
        </a:solidFill>
        <a:ln>
          <a:solidFill>
            <a:srgbClr val="FFC000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Business domain skills</a:t>
          </a:r>
        </a:p>
      </dgm:t>
    </dgm:pt>
    <dgm:pt modelId="{7552AC27-7AC2-3145-9406-644734398D1B}" type="parTrans" cxnId="{90BD07BC-3A2D-C549-A56B-C11980B19F88}">
      <dgm:prSet/>
      <dgm:spPr/>
      <dgm:t>
        <a:bodyPr/>
        <a:lstStyle/>
        <a:p>
          <a:endParaRPr lang="en-US"/>
        </a:p>
      </dgm:t>
    </dgm:pt>
    <dgm:pt modelId="{ED070A59-ADC0-3549-B0F5-D6F06D637F54}" type="sibTrans" cxnId="{90BD07BC-3A2D-C549-A56B-C11980B19F88}">
      <dgm:prSet/>
      <dgm:spPr/>
      <dgm:t>
        <a:bodyPr/>
        <a:lstStyle/>
        <a:p>
          <a:endParaRPr lang="en-US"/>
        </a:p>
      </dgm:t>
    </dgm:pt>
    <dgm:pt modelId="{CBF90A74-2582-C244-AA35-75C59325C504}">
      <dgm:prSet phldrT="[Text]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Digitalization of domain skills</a:t>
          </a:r>
        </a:p>
      </dgm:t>
    </dgm:pt>
    <dgm:pt modelId="{C87EE1E1-1DCC-E547-8593-9C290597BABB}" type="parTrans" cxnId="{B2F064B3-8FCA-6147-BFBE-B9E134E01CD3}">
      <dgm:prSet/>
      <dgm:spPr/>
      <dgm:t>
        <a:bodyPr/>
        <a:lstStyle/>
        <a:p>
          <a:endParaRPr lang="en-US"/>
        </a:p>
      </dgm:t>
    </dgm:pt>
    <dgm:pt modelId="{C7097B2E-B9EE-F843-AB53-978817957844}" type="sibTrans" cxnId="{B2F064B3-8FCA-6147-BFBE-B9E134E01CD3}">
      <dgm:prSet/>
      <dgm:spPr/>
      <dgm:t>
        <a:bodyPr/>
        <a:lstStyle/>
        <a:p>
          <a:endParaRPr lang="en-US"/>
        </a:p>
      </dgm:t>
    </dgm:pt>
    <dgm:pt modelId="{8D7B6B80-F00B-D44D-85AA-39BD63F5A8B6}">
      <dgm:prSet phldrT="[Text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Building</a:t>
          </a:r>
        </a:p>
      </dgm:t>
    </dgm:pt>
    <dgm:pt modelId="{5696D249-5C40-1049-80D4-6D322C628EDE}" type="parTrans" cxnId="{2609E15A-F6B4-AB4E-896D-481AD1BBAC6A}">
      <dgm:prSet/>
      <dgm:spPr/>
      <dgm:t>
        <a:bodyPr/>
        <a:lstStyle/>
        <a:p>
          <a:endParaRPr lang="en-US"/>
        </a:p>
      </dgm:t>
    </dgm:pt>
    <dgm:pt modelId="{C3DC90CC-5E54-5340-ACAA-14B5FDEA9732}" type="sibTrans" cxnId="{2609E15A-F6B4-AB4E-896D-481AD1BBAC6A}">
      <dgm:prSet/>
      <dgm:spPr/>
      <dgm:t>
        <a:bodyPr/>
        <a:lstStyle/>
        <a:p>
          <a:endParaRPr lang="en-US"/>
        </a:p>
      </dgm:t>
    </dgm:pt>
    <dgm:pt modelId="{0F32A21E-4B6B-3045-9EF3-91506A450284}">
      <dgm:prSet phldrT="[Text]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Integration</a:t>
          </a:r>
        </a:p>
      </dgm:t>
    </dgm:pt>
    <dgm:pt modelId="{D6AC56C4-9EFF-C64A-88A2-066BBC69222F}" type="parTrans" cxnId="{875CD536-4B29-644A-8422-E3442CDB0EBE}">
      <dgm:prSet/>
      <dgm:spPr/>
      <dgm:t>
        <a:bodyPr/>
        <a:lstStyle/>
        <a:p>
          <a:endParaRPr lang="en-US"/>
        </a:p>
      </dgm:t>
    </dgm:pt>
    <dgm:pt modelId="{2D2021DC-31CD-7844-BB4A-5AAB4FE1BE28}" type="sibTrans" cxnId="{875CD536-4B29-644A-8422-E3442CDB0EBE}">
      <dgm:prSet/>
      <dgm:spPr/>
      <dgm:t>
        <a:bodyPr/>
        <a:lstStyle/>
        <a:p>
          <a:endParaRPr lang="en-US"/>
        </a:p>
      </dgm:t>
    </dgm:pt>
    <dgm:pt modelId="{110597BD-A401-924C-BF77-4F7E8EB3F7C7}" type="pres">
      <dgm:prSet presAssocID="{DDA7CA36-F248-8746-B4DE-330F0F992DC9}" presName="Name0" presStyleCnt="0">
        <dgm:presLayoutVars>
          <dgm:dir/>
          <dgm:animLvl val="lvl"/>
          <dgm:resizeHandles val="exact"/>
        </dgm:presLayoutVars>
      </dgm:prSet>
      <dgm:spPr/>
    </dgm:pt>
    <dgm:pt modelId="{CA23BE72-0542-E646-8AD8-1F9F959FE5A5}" type="pres">
      <dgm:prSet presAssocID="{E7430E55-43D1-5B47-B31E-F5A4C9D809F5}" presName="Name8" presStyleCnt="0"/>
      <dgm:spPr/>
    </dgm:pt>
    <dgm:pt modelId="{BFBFA317-86DE-DD42-A983-40F911F49BE3}" type="pres">
      <dgm:prSet presAssocID="{E7430E55-43D1-5B47-B31E-F5A4C9D809F5}" presName="level" presStyleLbl="node1" presStyleIdx="0" presStyleCnt="4">
        <dgm:presLayoutVars>
          <dgm:chMax val="1"/>
          <dgm:bulletEnabled val="1"/>
        </dgm:presLayoutVars>
      </dgm:prSet>
      <dgm:spPr/>
    </dgm:pt>
    <dgm:pt modelId="{0186BF2C-AD69-934C-BAB5-736DBA5A56AC}" type="pres">
      <dgm:prSet presAssocID="{E7430E55-43D1-5B47-B31E-F5A4C9D809F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E2B8689-76B1-B14B-870A-F2D569A843FE}" type="pres">
      <dgm:prSet presAssocID="{CBF90A74-2582-C244-AA35-75C59325C504}" presName="Name8" presStyleCnt="0"/>
      <dgm:spPr/>
    </dgm:pt>
    <dgm:pt modelId="{39778E95-4A8E-C849-8917-805C2DFBC78D}" type="pres">
      <dgm:prSet presAssocID="{CBF90A74-2582-C244-AA35-75C59325C504}" presName="level" presStyleLbl="node1" presStyleIdx="1" presStyleCnt="4">
        <dgm:presLayoutVars>
          <dgm:chMax val="1"/>
          <dgm:bulletEnabled val="1"/>
        </dgm:presLayoutVars>
      </dgm:prSet>
      <dgm:spPr/>
    </dgm:pt>
    <dgm:pt modelId="{74871C93-C760-C648-AEA1-7EFE0F9D45A5}" type="pres">
      <dgm:prSet presAssocID="{CBF90A74-2582-C244-AA35-75C59325C50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6CCFFD0-79D7-D849-810F-5ADED785A17A}" type="pres">
      <dgm:prSet presAssocID="{8D7B6B80-F00B-D44D-85AA-39BD63F5A8B6}" presName="Name8" presStyleCnt="0"/>
      <dgm:spPr/>
    </dgm:pt>
    <dgm:pt modelId="{83CB0EBD-741A-434A-90EB-8E787E143DBD}" type="pres">
      <dgm:prSet presAssocID="{8D7B6B80-F00B-D44D-85AA-39BD63F5A8B6}" presName="level" presStyleLbl="node1" presStyleIdx="2" presStyleCnt="4">
        <dgm:presLayoutVars>
          <dgm:chMax val="1"/>
          <dgm:bulletEnabled val="1"/>
        </dgm:presLayoutVars>
      </dgm:prSet>
      <dgm:spPr/>
    </dgm:pt>
    <dgm:pt modelId="{13F73BD7-3D90-FD44-A93B-59B52AA52B0F}" type="pres">
      <dgm:prSet presAssocID="{8D7B6B80-F00B-D44D-85AA-39BD63F5A8B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D0BACF-8EB4-CE4A-BCE1-9F514A69F31F}" type="pres">
      <dgm:prSet presAssocID="{0F32A21E-4B6B-3045-9EF3-91506A450284}" presName="Name8" presStyleCnt="0"/>
      <dgm:spPr/>
    </dgm:pt>
    <dgm:pt modelId="{18EEB433-3C60-D744-B26E-43FFD928D5C3}" type="pres">
      <dgm:prSet presAssocID="{0F32A21E-4B6B-3045-9EF3-91506A450284}" presName="level" presStyleLbl="node1" presStyleIdx="3" presStyleCnt="4">
        <dgm:presLayoutVars>
          <dgm:chMax val="1"/>
          <dgm:bulletEnabled val="1"/>
        </dgm:presLayoutVars>
      </dgm:prSet>
      <dgm:spPr/>
    </dgm:pt>
    <dgm:pt modelId="{367136A0-21F3-B745-97E9-CDEDC507D5C7}" type="pres">
      <dgm:prSet presAssocID="{0F32A21E-4B6B-3045-9EF3-91506A45028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875CD536-4B29-644A-8422-E3442CDB0EBE}" srcId="{DDA7CA36-F248-8746-B4DE-330F0F992DC9}" destId="{0F32A21E-4B6B-3045-9EF3-91506A450284}" srcOrd="3" destOrd="0" parTransId="{D6AC56C4-9EFF-C64A-88A2-066BBC69222F}" sibTransId="{2D2021DC-31CD-7844-BB4A-5AAB4FE1BE28}"/>
    <dgm:cxn modelId="{230C713B-DDD5-C74B-86CB-02356CA3A349}" type="presOf" srcId="{E7430E55-43D1-5B47-B31E-F5A4C9D809F5}" destId="{BFBFA317-86DE-DD42-A983-40F911F49BE3}" srcOrd="0" destOrd="0" presId="urn:microsoft.com/office/officeart/2005/8/layout/pyramid1"/>
    <dgm:cxn modelId="{36803A40-B582-5D46-8748-07046125F128}" type="presOf" srcId="{CBF90A74-2582-C244-AA35-75C59325C504}" destId="{39778E95-4A8E-C849-8917-805C2DFBC78D}" srcOrd="0" destOrd="0" presId="urn:microsoft.com/office/officeart/2005/8/layout/pyramid1"/>
    <dgm:cxn modelId="{2609E15A-F6B4-AB4E-896D-481AD1BBAC6A}" srcId="{DDA7CA36-F248-8746-B4DE-330F0F992DC9}" destId="{8D7B6B80-F00B-D44D-85AA-39BD63F5A8B6}" srcOrd="2" destOrd="0" parTransId="{5696D249-5C40-1049-80D4-6D322C628EDE}" sibTransId="{C3DC90CC-5E54-5340-ACAA-14B5FDEA9732}"/>
    <dgm:cxn modelId="{DCD7BF60-C828-264C-9966-39FE935E5D0F}" type="presOf" srcId="{8D7B6B80-F00B-D44D-85AA-39BD63F5A8B6}" destId="{83CB0EBD-741A-434A-90EB-8E787E143DBD}" srcOrd="0" destOrd="0" presId="urn:microsoft.com/office/officeart/2005/8/layout/pyramid1"/>
    <dgm:cxn modelId="{F7F89B62-E7B9-D047-A604-91199609D0E5}" type="presOf" srcId="{0F32A21E-4B6B-3045-9EF3-91506A450284}" destId="{367136A0-21F3-B745-97E9-CDEDC507D5C7}" srcOrd="1" destOrd="0" presId="urn:microsoft.com/office/officeart/2005/8/layout/pyramid1"/>
    <dgm:cxn modelId="{B2F064B3-8FCA-6147-BFBE-B9E134E01CD3}" srcId="{DDA7CA36-F248-8746-B4DE-330F0F992DC9}" destId="{CBF90A74-2582-C244-AA35-75C59325C504}" srcOrd="1" destOrd="0" parTransId="{C87EE1E1-1DCC-E547-8593-9C290597BABB}" sibTransId="{C7097B2E-B9EE-F843-AB53-978817957844}"/>
    <dgm:cxn modelId="{2B688AB6-0945-3247-9145-959CCC6D585B}" type="presOf" srcId="{E7430E55-43D1-5B47-B31E-F5A4C9D809F5}" destId="{0186BF2C-AD69-934C-BAB5-736DBA5A56AC}" srcOrd="1" destOrd="0" presId="urn:microsoft.com/office/officeart/2005/8/layout/pyramid1"/>
    <dgm:cxn modelId="{90BD07BC-3A2D-C549-A56B-C11980B19F88}" srcId="{DDA7CA36-F248-8746-B4DE-330F0F992DC9}" destId="{E7430E55-43D1-5B47-B31E-F5A4C9D809F5}" srcOrd="0" destOrd="0" parTransId="{7552AC27-7AC2-3145-9406-644734398D1B}" sibTransId="{ED070A59-ADC0-3549-B0F5-D6F06D637F54}"/>
    <dgm:cxn modelId="{27C5C9C8-7F6B-DE46-999F-2906C428E46B}" type="presOf" srcId="{DDA7CA36-F248-8746-B4DE-330F0F992DC9}" destId="{110597BD-A401-924C-BF77-4F7E8EB3F7C7}" srcOrd="0" destOrd="0" presId="urn:microsoft.com/office/officeart/2005/8/layout/pyramid1"/>
    <dgm:cxn modelId="{1D3877D0-0DE7-3D4C-AF2C-58BB9F607FB0}" type="presOf" srcId="{8D7B6B80-F00B-D44D-85AA-39BD63F5A8B6}" destId="{13F73BD7-3D90-FD44-A93B-59B52AA52B0F}" srcOrd="1" destOrd="0" presId="urn:microsoft.com/office/officeart/2005/8/layout/pyramid1"/>
    <dgm:cxn modelId="{20A558D2-983B-0C4B-A43F-C7DB8BD29475}" type="presOf" srcId="{CBF90A74-2582-C244-AA35-75C59325C504}" destId="{74871C93-C760-C648-AEA1-7EFE0F9D45A5}" srcOrd="1" destOrd="0" presId="urn:microsoft.com/office/officeart/2005/8/layout/pyramid1"/>
    <dgm:cxn modelId="{349109F9-8C28-2B4A-88DF-8F204A4F4031}" type="presOf" srcId="{0F32A21E-4B6B-3045-9EF3-91506A450284}" destId="{18EEB433-3C60-D744-B26E-43FFD928D5C3}" srcOrd="0" destOrd="0" presId="urn:microsoft.com/office/officeart/2005/8/layout/pyramid1"/>
    <dgm:cxn modelId="{F2B92B8D-DCB6-C943-95B6-81837FAF9D58}" type="presParOf" srcId="{110597BD-A401-924C-BF77-4F7E8EB3F7C7}" destId="{CA23BE72-0542-E646-8AD8-1F9F959FE5A5}" srcOrd="0" destOrd="0" presId="urn:microsoft.com/office/officeart/2005/8/layout/pyramid1"/>
    <dgm:cxn modelId="{BF5BBA47-8832-984A-927B-075D8F4ECBA5}" type="presParOf" srcId="{CA23BE72-0542-E646-8AD8-1F9F959FE5A5}" destId="{BFBFA317-86DE-DD42-A983-40F911F49BE3}" srcOrd="0" destOrd="0" presId="urn:microsoft.com/office/officeart/2005/8/layout/pyramid1"/>
    <dgm:cxn modelId="{D19407E4-E36F-0248-8F79-983F2A0B6D7B}" type="presParOf" srcId="{CA23BE72-0542-E646-8AD8-1F9F959FE5A5}" destId="{0186BF2C-AD69-934C-BAB5-736DBA5A56AC}" srcOrd="1" destOrd="0" presId="urn:microsoft.com/office/officeart/2005/8/layout/pyramid1"/>
    <dgm:cxn modelId="{66079A20-A60F-6949-85AF-A99FD74165DF}" type="presParOf" srcId="{110597BD-A401-924C-BF77-4F7E8EB3F7C7}" destId="{AE2B8689-76B1-B14B-870A-F2D569A843FE}" srcOrd="1" destOrd="0" presId="urn:microsoft.com/office/officeart/2005/8/layout/pyramid1"/>
    <dgm:cxn modelId="{61E0F0C4-B56E-2340-862F-0F73727ACBDA}" type="presParOf" srcId="{AE2B8689-76B1-B14B-870A-F2D569A843FE}" destId="{39778E95-4A8E-C849-8917-805C2DFBC78D}" srcOrd="0" destOrd="0" presId="urn:microsoft.com/office/officeart/2005/8/layout/pyramid1"/>
    <dgm:cxn modelId="{08278D2D-3AB2-E34A-91EC-84CDD29538A9}" type="presParOf" srcId="{AE2B8689-76B1-B14B-870A-F2D569A843FE}" destId="{74871C93-C760-C648-AEA1-7EFE0F9D45A5}" srcOrd="1" destOrd="0" presId="urn:microsoft.com/office/officeart/2005/8/layout/pyramid1"/>
    <dgm:cxn modelId="{C470CBFD-57EA-EE45-8FF6-96AC0D06E28E}" type="presParOf" srcId="{110597BD-A401-924C-BF77-4F7E8EB3F7C7}" destId="{A6CCFFD0-79D7-D849-810F-5ADED785A17A}" srcOrd="2" destOrd="0" presId="urn:microsoft.com/office/officeart/2005/8/layout/pyramid1"/>
    <dgm:cxn modelId="{BD6FDB75-06D9-F341-B7E0-8F3D80A28E38}" type="presParOf" srcId="{A6CCFFD0-79D7-D849-810F-5ADED785A17A}" destId="{83CB0EBD-741A-434A-90EB-8E787E143DBD}" srcOrd="0" destOrd="0" presId="urn:microsoft.com/office/officeart/2005/8/layout/pyramid1"/>
    <dgm:cxn modelId="{30A92376-DEE1-DF4C-987C-8E97664AD8F4}" type="presParOf" srcId="{A6CCFFD0-79D7-D849-810F-5ADED785A17A}" destId="{13F73BD7-3D90-FD44-A93B-59B52AA52B0F}" srcOrd="1" destOrd="0" presId="urn:microsoft.com/office/officeart/2005/8/layout/pyramid1"/>
    <dgm:cxn modelId="{48239BE7-A389-704E-9F77-03C0C2EA02BC}" type="presParOf" srcId="{110597BD-A401-924C-BF77-4F7E8EB3F7C7}" destId="{A7D0BACF-8EB4-CE4A-BCE1-9F514A69F31F}" srcOrd="3" destOrd="0" presId="urn:microsoft.com/office/officeart/2005/8/layout/pyramid1"/>
    <dgm:cxn modelId="{000CB8FA-F8C6-3749-8963-344AE0A500A7}" type="presParOf" srcId="{A7D0BACF-8EB4-CE4A-BCE1-9F514A69F31F}" destId="{18EEB433-3C60-D744-B26E-43FFD928D5C3}" srcOrd="0" destOrd="0" presId="urn:microsoft.com/office/officeart/2005/8/layout/pyramid1"/>
    <dgm:cxn modelId="{D9FD726C-12B2-7149-8AFF-72783B2A6678}" type="presParOf" srcId="{A7D0BACF-8EB4-CE4A-BCE1-9F514A69F31F}" destId="{367136A0-21F3-B745-97E9-CDEDC507D5C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1F7AFC0-B0D0-5944-A17C-077DA75DC4C1}" type="doc">
      <dgm:prSet loTypeId="urn:microsoft.com/office/officeart/2005/8/layout/lProcess2" loCatId="matrix" qsTypeId="urn:microsoft.com/office/officeart/2005/8/quickstyle/simple3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B96E4C2D-BD3C-704B-A351-46489F840865}">
      <dgm:prSet phldrT="[Text]"/>
      <dgm:spPr/>
      <dgm:t>
        <a:bodyPr/>
        <a:lstStyle/>
        <a:p>
          <a:r>
            <a:rPr lang="en-US" dirty="0"/>
            <a:t>Large code base</a:t>
          </a:r>
          <a:endParaRPr lang="en-GB" dirty="0"/>
        </a:p>
      </dgm:t>
    </dgm:pt>
    <dgm:pt modelId="{B8405BA1-1A2B-CF47-967B-2A6266DD05ED}" type="parTrans" cxnId="{844CCFF9-F277-B547-9CAD-1F6036140AE3}">
      <dgm:prSet/>
      <dgm:spPr/>
      <dgm:t>
        <a:bodyPr/>
        <a:lstStyle/>
        <a:p>
          <a:endParaRPr lang="en-GB"/>
        </a:p>
      </dgm:t>
    </dgm:pt>
    <dgm:pt modelId="{E23022DC-B074-1E48-ABED-900836ED32D7}" type="sibTrans" cxnId="{844CCFF9-F277-B547-9CAD-1F6036140AE3}">
      <dgm:prSet/>
      <dgm:spPr/>
      <dgm:t>
        <a:bodyPr/>
        <a:lstStyle/>
        <a:p>
          <a:endParaRPr lang="en-GB"/>
        </a:p>
      </dgm:t>
    </dgm:pt>
    <dgm:pt modelId="{321BF0DC-9ACB-B346-91C8-B4803BF95EF7}">
      <dgm:prSet phldrT="[Text]"/>
      <dgm:spPr/>
      <dgm:t>
        <a:bodyPr/>
        <a:lstStyle/>
        <a:p>
          <a:r>
            <a:rPr lang="en-GB" dirty="0"/>
            <a:t>Product 1: "installed"</a:t>
          </a:r>
        </a:p>
      </dgm:t>
    </dgm:pt>
    <dgm:pt modelId="{80656F0D-8107-834F-A5FC-615F5C716EF1}" type="parTrans" cxnId="{FBB74061-F01C-0547-A211-E15DAB2778A0}">
      <dgm:prSet/>
      <dgm:spPr/>
      <dgm:t>
        <a:bodyPr/>
        <a:lstStyle/>
        <a:p>
          <a:endParaRPr lang="en-GB"/>
        </a:p>
      </dgm:t>
    </dgm:pt>
    <dgm:pt modelId="{EC0B477C-F6E0-704D-9361-886C5BDA79ED}" type="sibTrans" cxnId="{FBB74061-F01C-0547-A211-E15DAB2778A0}">
      <dgm:prSet/>
      <dgm:spPr/>
      <dgm:t>
        <a:bodyPr/>
        <a:lstStyle/>
        <a:p>
          <a:endParaRPr lang="en-GB"/>
        </a:p>
      </dgm:t>
    </dgm:pt>
    <dgm:pt modelId="{7D21486A-5E82-1047-8C4C-9546020379ED}">
      <dgm:prSet/>
      <dgm:spPr/>
      <dgm:t>
        <a:bodyPr/>
        <a:lstStyle/>
        <a:p>
          <a:r>
            <a:rPr lang="en-US" dirty="0"/>
            <a:t>Extremely large code base – open source contribution &amp; development – basically a Linux distro + applications</a:t>
          </a:r>
        </a:p>
      </dgm:t>
    </dgm:pt>
    <dgm:pt modelId="{7C363ADD-E62A-9D47-8D06-EBB1AFD54F9F}" type="parTrans" cxnId="{FE740CA3-0E6E-3542-B534-555074C24FF6}">
      <dgm:prSet/>
      <dgm:spPr/>
      <dgm:t>
        <a:bodyPr/>
        <a:lstStyle/>
        <a:p>
          <a:endParaRPr lang="en-GB"/>
        </a:p>
      </dgm:t>
    </dgm:pt>
    <dgm:pt modelId="{88AE3DB6-4483-894C-848C-6D1683A927C3}" type="sibTrans" cxnId="{FE740CA3-0E6E-3542-B534-555074C24FF6}">
      <dgm:prSet/>
      <dgm:spPr/>
      <dgm:t>
        <a:bodyPr/>
        <a:lstStyle/>
        <a:p>
          <a:endParaRPr lang="en-GB"/>
        </a:p>
      </dgm:t>
    </dgm:pt>
    <dgm:pt modelId="{8C900DA9-2171-D64F-B871-48A0A0F648F1}">
      <dgm:prSet/>
      <dgm:sp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</dgm:spPr>
      <dgm:t>
        <a:bodyPr/>
        <a:lstStyle/>
        <a:p>
          <a:r>
            <a:rPr lang="en-US"/>
            <a:t>New development + hardware development</a:t>
          </a:r>
          <a:endParaRPr lang="en-US" dirty="0"/>
        </a:p>
      </dgm:t>
    </dgm:pt>
    <dgm:pt modelId="{567B98DA-3697-A64E-AE9F-5AA0B2A5A541}" type="parTrans" cxnId="{5BBBFFBA-D1CE-3B48-AB0C-01F5B542E498}">
      <dgm:prSet/>
      <dgm:spPr/>
      <dgm:t>
        <a:bodyPr/>
        <a:lstStyle/>
        <a:p>
          <a:endParaRPr lang="en-GB"/>
        </a:p>
      </dgm:t>
    </dgm:pt>
    <dgm:pt modelId="{DF991E22-1952-8049-9EC2-58395144C2D8}" type="sibTrans" cxnId="{5BBBFFBA-D1CE-3B48-AB0C-01F5B542E498}">
      <dgm:prSet/>
      <dgm:spPr/>
      <dgm:t>
        <a:bodyPr/>
        <a:lstStyle/>
        <a:p>
          <a:endParaRPr lang="en-GB"/>
        </a:p>
      </dgm:t>
    </dgm:pt>
    <dgm:pt modelId="{B1E9B033-32CC-D840-87ED-B8E721924A31}">
      <dgm:prSet/>
      <dgm:spPr/>
      <dgm:t>
        <a:bodyPr/>
        <a:lstStyle/>
        <a:p>
          <a:r>
            <a:rPr lang="en-US" dirty="0"/>
            <a:t>Embedded code C++</a:t>
          </a:r>
        </a:p>
      </dgm:t>
    </dgm:pt>
    <dgm:pt modelId="{DA77AA12-69C7-E947-90FE-8D5C445EECD4}" type="parTrans" cxnId="{7D8FEAF7-57E5-744B-97B2-C1FE01FB9D5A}">
      <dgm:prSet/>
      <dgm:spPr/>
      <dgm:t>
        <a:bodyPr/>
        <a:lstStyle/>
        <a:p>
          <a:endParaRPr lang="en-GB"/>
        </a:p>
      </dgm:t>
    </dgm:pt>
    <dgm:pt modelId="{64D73109-B7FC-4C43-8A77-0BD15CB2B600}" type="sibTrans" cxnId="{7D8FEAF7-57E5-744B-97B2-C1FE01FB9D5A}">
      <dgm:prSet/>
      <dgm:spPr/>
      <dgm:t>
        <a:bodyPr/>
        <a:lstStyle/>
        <a:p>
          <a:endParaRPr lang="en-GB"/>
        </a:p>
      </dgm:t>
    </dgm:pt>
    <dgm:pt modelId="{AE7D78AC-8EAC-A14F-B784-C37ADE830D0E}">
      <dgm:prSet/>
      <dgm:spPr/>
      <dgm:t>
        <a:bodyPr/>
        <a:lstStyle/>
        <a:p>
          <a:r>
            <a:rPr lang="en-US" dirty="0"/>
            <a:t>Many dozens of scrum teams. Multiple countries, multiple locations</a:t>
          </a:r>
          <a:endParaRPr lang="fi-FI" dirty="0"/>
        </a:p>
      </dgm:t>
    </dgm:pt>
    <dgm:pt modelId="{6FAAE006-F4DD-0C40-8499-58A6328D5D6F}" type="parTrans" cxnId="{7E37BD72-BB39-6141-8FED-1CA7A11D54D8}">
      <dgm:prSet/>
      <dgm:spPr/>
      <dgm:t>
        <a:bodyPr/>
        <a:lstStyle/>
        <a:p>
          <a:endParaRPr lang="en-GB"/>
        </a:p>
      </dgm:t>
    </dgm:pt>
    <dgm:pt modelId="{B69B2FDE-B7D3-4442-908A-F23CE929C472}" type="sibTrans" cxnId="{7E37BD72-BB39-6141-8FED-1CA7A11D54D8}">
      <dgm:prSet/>
      <dgm:spPr/>
      <dgm:t>
        <a:bodyPr/>
        <a:lstStyle/>
        <a:p>
          <a:endParaRPr lang="en-GB"/>
        </a:p>
      </dgm:t>
    </dgm:pt>
    <dgm:pt modelId="{CA827C70-D790-FD47-9542-BE9EFA1BF50F}">
      <dgm:prSet phldrT="[Text]"/>
      <dgm:spPr/>
      <dgm:t>
        <a:bodyPr/>
        <a:lstStyle/>
        <a:p>
          <a:r>
            <a:rPr lang="en-GB" dirty="0"/>
            <a:t>Product 2: "embedded"</a:t>
          </a:r>
        </a:p>
      </dgm:t>
    </dgm:pt>
    <dgm:pt modelId="{6D1F57C6-BB99-8649-8742-A83580AFDE2B}" type="parTrans" cxnId="{D5A431B8-E42C-9A4D-8ECD-F0E5144A78DA}">
      <dgm:prSet/>
      <dgm:spPr/>
      <dgm:t>
        <a:bodyPr/>
        <a:lstStyle/>
        <a:p>
          <a:endParaRPr lang="en-GB"/>
        </a:p>
      </dgm:t>
    </dgm:pt>
    <dgm:pt modelId="{A04F7945-2455-8448-8EEB-B25A4AD1ECC0}" type="sibTrans" cxnId="{D5A431B8-E42C-9A4D-8ECD-F0E5144A78DA}">
      <dgm:prSet/>
      <dgm:spPr/>
      <dgm:t>
        <a:bodyPr/>
        <a:lstStyle/>
        <a:p>
          <a:endParaRPr lang="en-GB"/>
        </a:p>
      </dgm:t>
    </dgm:pt>
    <dgm:pt modelId="{AD79BA69-E4E8-A84E-8179-45CE4FB18B68}">
      <dgm:prSet/>
      <dgm:spPr/>
      <dgm:t>
        <a:bodyPr/>
        <a:lstStyle/>
        <a:p>
          <a:r>
            <a:rPr lang="en-US" dirty="0"/>
            <a:t>Compact code base. Hardware development</a:t>
          </a:r>
        </a:p>
      </dgm:t>
    </dgm:pt>
    <dgm:pt modelId="{C070CB60-3C77-B042-BF40-75EE5CC2D36A}" type="parTrans" cxnId="{7CD7D787-B93A-8742-995D-F90CF9B16E1C}">
      <dgm:prSet/>
      <dgm:spPr/>
      <dgm:t>
        <a:bodyPr/>
        <a:lstStyle/>
        <a:p>
          <a:endParaRPr lang="en-GB"/>
        </a:p>
      </dgm:t>
    </dgm:pt>
    <dgm:pt modelId="{E8DFD347-4215-7B4A-B37B-772D5BE6B3FE}" type="sibTrans" cxnId="{7CD7D787-B93A-8742-995D-F90CF9B16E1C}">
      <dgm:prSet/>
      <dgm:spPr/>
      <dgm:t>
        <a:bodyPr/>
        <a:lstStyle/>
        <a:p>
          <a:endParaRPr lang="en-GB"/>
        </a:p>
      </dgm:t>
    </dgm:pt>
    <dgm:pt modelId="{F04E66ED-8DB3-554C-9D98-23F2CEA4786B}">
      <dgm:prSet/>
      <dgm:sp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</dgm:spPr>
      <dgm:t>
        <a:bodyPr/>
        <a:lstStyle/>
        <a:p>
          <a:r>
            <a:rPr lang="en-US" dirty="0"/>
            <a:t>Refactoring in the large + applied research and new development</a:t>
          </a:r>
        </a:p>
      </dgm:t>
    </dgm:pt>
    <dgm:pt modelId="{B7AEFEC8-ECF3-3E4A-847D-5C843A14E05C}" type="parTrans" cxnId="{98F48A02-D4E8-1042-8B9C-18DCC51A8399}">
      <dgm:prSet/>
      <dgm:spPr/>
      <dgm:t>
        <a:bodyPr/>
        <a:lstStyle/>
        <a:p>
          <a:endParaRPr lang="en-GB"/>
        </a:p>
      </dgm:t>
    </dgm:pt>
    <dgm:pt modelId="{19706A3E-EC50-AB4C-9BD5-EE238FD00F76}" type="sibTrans" cxnId="{98F48A02-D4E8-1042-8B9C-18DCC51A8399}">
      <dgm:prSet/>
      <dgm:spPr/>
      <dgm:t>
        <a:bodyPr/>
        <a:lstStyle/>
        <a:p>
          <a:endParaRPr lang="en-GB"/>
        </a:p>
      </dgm:t>
    </dgm:pt>
    <dgm:pt modelId="{17FC70CD-2ABB-BE40-BA9C-B83ADCB0B7CB}">
      <dgm:prSet/>
      <dgm:spPr/>
      <dgm:t>
        <a:bodyPr/>
        <a:lstStyle/>
        <a:p>
          <a:r>
            <a:rPr lang="en-US" dirty="0"/>
            <a:t>Java, JavaScript, C++, HTML5 – multiple phone OS, multiple browsers</a:t>
          </a:r>
        </a:p>
      </dgm:t>
    </dgm:pt>
    <dgm:pt modelId="{5767EA09-B65A-CA45-B1BA-0ED537184165}" type="parTrans" cxnId="{744EC4FB-486B-7742-8B81-55F0AAF254D6}">
      <dgm:prSet/>
      <dgm:spPr/>
      <dgm:t>
        <a:bodyPr/>
        <a:lstStyle/>
        <a:p>
          <a:endParaRPr lang="en-GB"/>
        </a:p>
      </dgm:t>
    </dgm:pt>
    <dgm:pt modelId="{934259A6-A5A5-D246-BA00-5EC8DA71F3AC}" type="sibTrans" cxnId="{744EC4FB-486B-7742-8B81-55F0AAF254D6}">
      <dgm:prSet/>
      <dgm:spPr/>
      <dgm:t>
        <a:bodyPr/>
        <a:lstStyle/>
        <a:p>
          <a:endParaRPr lang="en-GB"/>
        </a:p>
      </dgm:t>
    </dgm:pt>
    <dgm:pt modelId="{54D4C082-4ADD-6343-AD45-D8013C8D2C1A}">
      <dgm:prSet/>
      <dgm:spPr/>
      <dgm:t>
        <a:bodyPr/>
        <a:lstStyle/>
        <a:p>
          <a:r>
            <a:rPr lang="en-US" dirty="0"/>
            <a:t>9-10 scrum teams.</a:t>
          </a:r>
        </a:p>
        <a:p>
          <a:r>
            <a:rPr lang="en-US" dirty="0"/>
            <a:t>Multiple countries, multiple locations </a:t>
          </a:r>
        </a:p>
      </dgm:t>
    </dgm:pt>
    <dgm:pt modelId="{B36FAF8F-ED63-1441-B25D-B693C5CA03F7}" type="parTrans" cxnId="{C9C81F7F-A37F-984F-9857-37CB5363F9C6}">
      <dgm:prSet/>
      <dgm:spPr/>
      <dgm:t>
        <a:bodyPr/>
        <a:lstStyle/>
        <a:p>
          <a:endParaRPr lang="en-GB"/>
        </a:p>
      </dgm:t>
    </dgm:pt>
    <dgm:pt modelId="{E9F289BC-0DE8-3C4B-A938-B6FAE8FB4054}" type="sibTrans" cxnId="{C9C81F7F-A37F-984F-9857-37CB5363F9C6}">
      <dgm:prSet/>
      <dgm:spPr/>
      <dgm:t>
        <a:bodyPr/>
        <a:lstStyle/>
        <a:p>
          <a:endParaRPr lang="en-GB"/>
        </a:p>
      </dgm:t>
    </dgm:pt>
    <dgm:pt modelId="{25A6FAA3-2F05-1543-8144-03128878127D}">
      <dgm:prSet/>
      <dgm:spPr/>
      <dgm:t>
        <a:bodyPr/>
        <a:lstStyle/>
        <a:p>
          <a:r>
            <a:rPr lang="fi-FI" dirty="0"/>
            <a:t>Product 3: "</a:t>
          </a:r>
          <a:r>
            <a:rPr lang="fi-FI" dirty="0" err="1"/>
            <a:t>web</a:t>
          </a:r>
          <a:r>
            <a:rPr lang="fi-FI" dirty="0"/>
            <a:t>/mobile/hardware  - </a:t>
          </a:r>
          <a:r>
            <a:rPr lang="fi-FI" dirty="0" err="1"/>
            <a:t>cloud</a:t>
          </a:r>
          <a:r>
            <a:rPr lang="fi-FI" dirty="0"/>
            <a:t>"</a:t>
          </a:r>
        </a:p>
      </dgm:t>
    </dgm:pt>
    <dgm:pt modelId="{3DF8C77C-1047-0845-A6DD-B273F9ACDBE4}" type="parTrans" cxnId="{CAEAAF6E-BE8E-E14C-9607-76B61D5BA6BB}">
      <dgm:prSet/>
      <dgm:spPr/>
      <dgm:t>
        <a:bodyPr/>
        <a:lstStyle/>
        <a:p>
          <a:endParaRPr lang="en-GB"/>
        </a:p>
      </dgm:t>
    </dgm:pt>
    <dgm:pt modelId="{5137FB0F-CF42-5540-A151-7338ED39C122}" type="sibTrans" cxnId="{CAEAAF6E-BE8E-E14C-9607-76B61D5BA6BB}">
      <dgm:prSet/>
      <dgm:spPr/>
      <dgm:t>
        <a:bodyPr/>
        <a:lstStyle/>
        <a:p>
          <a:endParaRPr lang="en-GB"/>
        </a:p>
      </dgm:t>
    </dgm:pt>
    <dgm:pt modelId="{03DEF8AE-F696-5947-AEC4-9A3D0E4632A5}">
      <dgm:prSet/>
      <dgm:spPr/>
      <dgm:t>
        <a:bodyPr/>
        <a:lstStyle/>
        <a:p>
          <a:r>
            <a:rPr lang="en-US" dirty="0"/>
            <a:t>Product 4: SaaS / Cloud</a:t>
          </a:r>
          <a:endParaRPr lang="fi-FI" dirty="0"/>
        </a:p>
      </dgm:t>
    </dgm:pt>
    <dgm:pt modelId="{D4C3D79E-6C77-7143-8B9A-7FFA748CA1D1}" type="parTrans" cxnId="{56577230-A241-884A-9AE9-214289931929}">
      <dgm:prSet/>
      <dgm:spPr/>
      <dgm:t>
        <a:bodyPr/>
        <a:lstStyle/>
        <a:p>
          <a:endParaRPr lang="en-GB"/>
        </a:p>
      </dgm:t>
    </dgm:pt>
    <dgm:pt modelId="{C40D9A25-F735-AC45-A250-019514FA5ABA}" type="sibTrans" cxnId="{56577230-A241-884A-9AE9-214289931929}">
      <dgm:prSet/>
      <dgm:spPr/>
      <dgm:t>
        <a:bodyPr/>
        <a:lstStyle/>
        <a:p>
          <a:endParaRPr lang="en-GB"/>
        </a:p>
      </dgm:t>
    </dgm:pt>
    <dgm:pt modelId="{11250FA6-2A01-9D4F-A160-33306C2BA5A5}">
      <dgm:prSet/>
      <dgm:spPr/>
      <dgm:t>
        <a:bodyPr/>
        <a:lstStyle/>
        <a:p>
          <a:r>
            <a:rPr lang="en-US" dirty="0"/>
            <a:t>Multiple old code bases and a new one.</a:t>
          </a:r>
        </a:p>
      </dgm:t>
    </dgm:pt>
    <dgm:pt modelId="{7A600BCF-FB4E-A946-A9FC-63AF60A041FA}" type="parTrans" cxnId="{F0F48BCE-C153-0141-9461-BBA15ABC89CE}">
      <dgm:prSet/>
      <dgm:spPr/>
      <dgm:t>
        <a:bodyPr/>
        <a:lstStyle/>
        <a:p>
          <a:endParaRPr lang="en-GB"/>
        </a:p>
      </dgm:t>
    </dgm:pt>
    <dgm:pt modelId="{D3A1AF1C-B1FE-664F-8306-5E801B1AF650}" type="sibTrans" cxnId="{F0F48BCE-C153-0141-9461-BBA15ABC89CE}">
      <dgm:prSet/>
      <dgm:spPr/>
      <dgm:t>
        <a:bodyPr/>
        <a:lstStyle/>
        <a:p>
          <a:endParaRPr lang="en-GB"/>
        </a:p>
      </dgm:t>
    </dgm:pt>
    <dgm:pt modelId="{5B37301E-4793-E144-8200-B14D4DC512BE}">
      <dgm:prSet/>
      <dgm:sp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</dgm:spPr>
      <dgm:t>
        <a:bodyPr/>
        <a:lstStyle/>
        <a:p>
          <a:r>
            <a:rPr lang="en-US"/>
            <a:t>Refactoring in the large, new development + maintenance</a:t>
          </a:r>
          <a:endParaRPr lang="en-US" dirty="0"/>
        </a:p>
      </dgm:t>
    </dgm:pt>
    <dgm:pt modelId="{AA14B8E2-BE47-F34C-92E2-3DF5AEFA6040}" type="parTrans" cxnId="{B9A4F093-0412-6046-BF20-D40A94219BA1}">
      <dgm:prSet/>
      <dgm:spPr/>
      <dgm:t>
        <a:bodyPr/>
        <a:lstStyle/>
        <a:p>
          <a:endParaRPr lang="en-GB"/>
        </a:p>
      </dgm:t>
    </dgm:pt>
    <dgm:pt modelId="{D0FAEC38-05A0-694E-8A17-C5FBC0C96C09}" type="sibTrans" cxnId="{B9A4F093-0412-6046-BF20-D40A94219BA1}">
      <dgm:prSet/>
      <dgm:spPr/>
      <dgm:t>
        <a:bodyPr/>
        <a:lstStyle/>
        <a:p>
          <a:endParaRPr lang="en-GB"/>
        </a:p>
      </dgm:t>
    </dgm:pt>
    <dgm:pt modelId="{767904E4-82C3-1A48-A326-8201070C54D5}">
      <dgm:prSet/>
      <dgm:spPr/>
      <dgm:t>
        <a:bodyPr/>
        <a:lstStyle/>
        <a:p>
          <a:r>
            <a:rPr lang="en-US" dirty="0"/>
            <a:t>Java, Scala, JavaScript, HTML5. Mostly server code. Multiple databases (SQL, NoSQL). </a:t>
          </a:r>
          <a:br>
            <a:rPr lang="en-US" dirty="0"/>
          </a:br>
          <a:r>
            <a:rPr lang="en-US" dirty="0"/>
            <a:t>For all new development : startup stack</a:t>
          </a:r>
        </a:p>
      </dgm:t>
    </dgm:pt>
    <dgm:pt modelId="{664A5836-777F-D04B-98C7-EB1824E1B234}" type="parTrans" cxnId="{FA928AEA-8ABD-A248-9DE9-A00313D7E723}">
      <dgm:prSet/>
      <dgm:spPr/>
      <dgm:t>
        <a:bodyPr/>
        <a:lstStyle/>
        <a:p>
          <a:endParaRPr lang="en-GB"/>
        </a:p>
      </dgm:t>
    </dgm:pt>
    <dgm:pt modelId="{29DC7A90-D71E-234A-8E67-6E69A52D6A26}" type="sibTrans" cxnId="{FA928AEA-8ABD-A248-9DE9-A00313D7E723}">
      <dgm:prSet/>
      <dgm:spPr/>
      <dgm:t>
        <a:bodyPr/>
        <a:lstStyle/>
        <a:p>
          <a:endParaRPr lang="en-GB"/>
        </a:p>
      </dgm:t>
    </dgm:pt>
    <dgm:pt modelId="{C4AC0C6E-6EC7-0B4C-9081-AA5BD7881A43}">
      <dgm:prSet/>
      <dgm:spPr/>
      <dgm:t>
        <a:bodyPr/>
        <a:lstStyle/>
        <a:p>
          <a:r>
            <a:rPr lang="en-US" dirty="0"/>
            <a:t>Between 10-20 scrum teams. Multiple countries, multiple locations </a:t>
          </a:r>
        </a:p>
      </dgm:t>
    </dgm:pt>
    <dgm:pt modelId="{6619A841-04C2-C548-BADF-CB7EC9780ACF}" type="parTrans" cxnId="{35BE11A4-8DB2-3947-AC56-3C49DB682A87}">
      <dgm:prSet/>
      <dgm:spPr/>
      <dgm:t>
        <a:bodyPr/>
        <a:lstStyle/>
        <a:p>
          <a:endParaRPr lang="en-GB"/>
        </a:p>
      </dgm:t>
    </dgm:pt>
    <dgm:pt modelId="{4134C205-57BE-FE42-B7F8-6E9F17D5C8F6}" type="sibTrans" cxnId="{35BE11A4-8DB2-3947-AC56-3C49DB682A87}">
      <dgm:prSet/>
      <dgm:spPr/>
      <dgm:t>
        <a:bodyPr/>
        <a:lstStyle/>
        <a:p>
          <a:endParaRPr lang="en-GB"/>
        </a:p>
      </dgm:t>
    </dgm:pt>
    <dgm:pt modelId="{87078487-9CA1-0845-8283-F8B652856ABB}">
      <dgm:prSet phldrT="[Text]"/>
      <dgm:sp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</dgm:spPr>
      <dgm:t>
        <a:bodyPr/>
        <a:lstStyle/>
        <a:p>
          <a:r>
            <a:rPr lang="en-US" dirty="0"/>
            <a:t>New development and refactoring. Maintenance</a:t>
          </a:r>
          <a:endParaRPr lang="en-GB" dirty="0"/>
        </a:p>
      </dgm:t>
    </dgm:pt>
    <dgm:pt modelId="{A8E52670-D948-4945-BA49-CA8A05D6EF3B}" type="parTrans" cxnId="{2EE6EBF3-0AA7-F541-A105-E5E2F1397A26}">
      <dgm:prSet/>
      <dgm:spPr/>
      <dgm:t>
        <a:bodyPr/>
        <a:lstStyle/>
        <a:p>
          <a:endParaRPr lang="en-GB"/>
        </a:p>
      </dgm:t>
    </dgm:pt>
    <dgm:pt modelId="{0A83FAF8-7A01-6548-8B84-4C343D4C6A40}" type="sibTrans" cxnId="{2EE6EBF3-0AA7-F541-A105-E5E2F1397A26}">
      <dgm:prSet/>
      <dgm:spPr/>
      <dgm:t>
        <a:bodyPr/>
        <a:lstStyle/>
        <a:p>
          <a:endParaRPr lang="en-GB"/>
        </a:p>
      </dgm:t>
    </dgm:pt>
    <dgm:pt modelId="{1E5F7A23-6B1F-FD42-BE61-393A35857BCA}">
      <dgm:prSet phldrT="[Text]"/>
      <dgm:spPr/>
      <dgm:t>
        <a:bodyPr/>
        <a:lstStyle/>
        <a:p>
          <a:r>
            <a:rPr lang="en-US" dirty="0"/>
            <a:t>Mostly server code – Java &amp; friends</a:t>
          </a:r>
          <a:endParaRPr lang="en-GB" dirty="0"/>
        </a:p>
      </dgm:t>
    </dgm:pt>
    <dgm:pt modelId="{B5865F4C-C86F-BA48-B07A-42B963881A8D}" type="parTrans" cxnId="{193E07EA-DED5-7B47-B74E-313EAACDA994}">
      <dgm:prSet/>
      <dgm:spPr/>
      <dgm:t>
        <a:bodyPr/>
        <a:lstStyle/>
        <a:p>
          <a:endParaRPr lang="en-GB"/>
        </a:p>
      </dgm:t>
    </dgm:pt>
    <dgm:pt modelId="{DB889A19-73EB-834A-B91E-922D4415A203}" type="sibTrans" cxnId="{193E07EA-DED5-7B47-B74E-313EAACDA994}">
      <dgm:prSet/>
      <dgm:spPr/>
      <dgm:t>
        <a:bodyPr/>
        <a:lstStyle/>
        <a:p>
          <a:endParaRPr lang="en-GB"/>
        </a:p>
      </dgm:t>
    </dgm:pt>
    <dgm:pt modelId="{97601F96-965F-DA49-9B79-E364797149B8}">
      <dgm:prSet phldrT="[Text]"/>
      <dgm:spPr/>
      <dgm:t>
        <a:bodyPr/>
        <a:lstStyle/>
        <a:p>
          <a:r>
            <a:rPr lang="en-US" dirty="0"/>
            <a:t>Dozens of scrum teams. Multiple countries, multiple locations</a:t>
          </a:r>
          <a:endParaRPr lang="en-GB" dirty="0"/>
        </a:p>
      </dgm:t>
    </dgm:pt>
    <dgm:pt modelId="{3713CE88-06D0-1C4E-B9CA-C6B30A68EE09}" type="parTrans" cxnId="{B5AF989D-1A25-A34F-9878-4C5765A2A26A}">
      <dgm:prSet/>
      <dgm:spPr/>
      <dgm:t>
        <a:bodyPr/>
        <a:lstStyle/>
        <a:p>
          <a:endParaRPr lang="en-GB"/>
        </a:p>
      </dgm:t>
    </dgm:pt>
    <dgm:pt modelId="{C00C0390-7082-6346-A3AE-283E2270CF90}" type="sibTrans" cxnId="{B5AF989D-1A25-A34F-9878-4C5765A2A26A}">
      <dgm:prSet/>
      <dgm:spPr/>
      <dgm:t>
        <a:bodyPr/>
        <a:lstStyle/>
        <a:p>
          <a:endParaRPr lang="en-GB"/>
        </a:p>
      </dgm:t>
    </dgm:pt>
    <dgm:pt modelId="{8BFCF53D-A8CA-5A41-A1F7-0E94CA238007}" type="pres">
      <dgm:prSet presAssocID="{31F7AFC0-B0D0-5944-A17C-077DA75DC4C1}" presName="theList" presStyleCnt="0">
        <dgm:presLayoutVars>
          <dgm:dir/>
          <dgm:animLvl val="lvl"/>
          <dgm:resizeHandles val="exact"/>
        </dgm:presLayoutVars>
      </dgm:prSet>
      <dgm:spPr/>
    </dgm:pt>
    <dgm:pt modelId="{DDF1429A-2059-4149-AC99-82AE933A7506}" type="pres">
      <dgm:prSet presAssocID="{321BF0DC-9ACB-B346-91C8-B4803BF95EF7}" presName="compNode" presStyleCnt="0"/>
      <dgm:spPr/>
    </dgm:pt>
    <dgm:pt modelId="{9AE00197-519E-124B-9B79-66EAEA9F2653}" type="pres">
      <dgm:prSet presAssocID="{321BF0DC-9ACB-B346-91C8-B4803BF95EF7}" presName="aNode" presStyleLbl="bgShp" presStyleIdx="0" presStyleCnt="4"/>
      <dgm:spPr/>
    </dgm:pt>
    <dgm:pt modelId="{5A99C956-2773-EA4A-A03B-C2EF30B7C906}" type="pres">
      <dgm:prSet presAssocID="{321BF0DC-9ACB-B346-91C8-B4803BF95EF7}" presName="textNode" presStyleLbl="bgShp" presStyleIdx="0" presStyleCnt="4"/>
      <dgm:spPr/>
    </dgm:pt>
    <dgm:pt modelId="{ACD5B54C-CC3B-9443-AA86-2A5D0466AAA3}" type="pres">
      <dgm:prSet presAssocID="{321BF0DC-9ACB-B346-91C8-B4803BF95EF7}" presName="compChildNode" presStyleCnt="0"/>
      <dgm:spPr/>
    </dgm:pt>
    <dgm:pt modelId="{F18AB777-4B34-AF4A-A19D-A9646AE964FF}" type="pres">
      <dgm:prSet presAssocID="{321BF0DC-9ACB-B346-91C8-B4803BF95EF7}" presName="theInnerList" presStyleCnt="0"/>
      <dgm:spPr/>
    </dgm:pt>
    <dgm:pt modelId="{348955D0-A1D4-6646-B4DE-D53A87AB446B}" type="pres">
      <dgm:prSet presAssocID="{B96E4C2D-BD3C-704B-A351-46489F840865}" presName="childNode" presStyleLbl="node1" presStyleIdx="0" presStyleCnt="16">
        <dgm:presLayoutVars>
          <dgm:bulletEnabled val="1"/>
        </dgm:presLayoutVars>
      </dgm:prSet>
      <dgm:spPr/>
    </dgm:pt>
    <dgm:pt modelId="{718CF9FF-309F-9848-AE94-44EACD04F18B}" type="pres">
      <dgm:prSet presAssocID="{B96E4C2D-BD3C-704B-A351-46489F840865}" presName="aSpace2" presStyleCnt="0"/>
      <dgm:spPr/>
    </dgm:pt>
    <dgm:pt modelId="{82A3CD2A-5FC1-5448-927E-29951B760C26}" type="pres">
      <dgm:prSet presAssocID="{87078487-9CA1-0845-8283-F8B652856ABB}" presName="childNode" presStyleLbl="node1" presStyleIdx="1" presStyleCnt="16">
        <dgm:presLayoutVars>
          <dgm:bulletEnabled val="1"/>
        </dgm:presLayoutVars>
      </dgm:prSet>
      <dgm:spPr/>
    </dgm:pt>
    <dgm:pt modelId="{3EBD9F51-40F9-6944-8588-7E8B38551FB1}" type="pres">
      <dgm:prSet presAssocID="{87078487-9CA1-0845-8283-F8B652856ABB}" presName="aSpace2" presStyleCnt="0"/>
      <dgm:spPr/>
    </dgm:pt>
    <dgm:pt modelId="{3A946ED8-367E-8A47-A3D5-F7F78C8BD07F}" type="pres">
      <dgm:prSet presAssocID="{1E5F7A23-6B1F-FD42-BE61-393A35857BCA}" presName="childNode" presStyleLbl="node1" presStyleIdx="2" presStyleCnt="16">
        <dgm:presLayoutVars>
          <dgm:bulletEnabled val="1"/>
        </dgm:presLayoutVars>
      </dgm:prSet>
      <dgm:spPr/>
    </dgm:pt>
    <dgm:pt modelId="{973F10FF-8987-2744-9685-2049C2EB6142}" type="pres">
      <dgm:prSet presAssocID="{1E5F7A23-6B1F-FD42-BE61-393A35857BCA}" presName="aSpace2" presStyleCnt="0"/>
      <dgm:spPr/>
    </dgm:pt>
    <dgm:pt modelId="{012AD63D-DE13-944F-BB20-AE36A7861ADD}" type="pres">
      <dgm:prSet presAssocID="{97601F96-965F-DA49-9B79-E364797149B8}" presName="childNode" presStyleLbl="node1" presStyleIdx="3" presStyleCnt="16">
        <dgm:presLayoutVars>
          <dgm:bulletEnabled val="1"/>
        </dgm:presLayoutVars>
      </dgm:prSet>
      <dgm:spPr/>
    </dgm:pt>
    <dgm:pt modelId="{F0180B71-6A0B-B545-8C56-6CEA663287DB}" type="pres">
      <dgm:prSet presAssocID="{321BF0DC-9ACB-B346-91C8-B4803BF95EF7}" presName="aSpace" presStyleCnt="0"/>
      <dgm:spPr/>
    </dgm:pt>
    <dgm:pt modelId="{E8AB3079-7198-CD4D-A74F-F81B05712D45}" type="pres">
      <dgm:prSet presAssocID="{CA827C70-D790-FD47-9542-BE9EFA1BF50F}" presName="compNode" presStyleCnt="0"/>
      <dgm:spPr/>
    </dgm:pt>
    <dgm:pt modelId="{C3F1AE5B-277D-6B48-B0A7-7E32285D3943}" type="pres">
      <dgm:prSet presAssocID="{CA827C70-D790-FD47-9542-BE9EFA1BF50F}" presName="aNode" presStyleLbl="bgShp" presStyleIdx="1" presStyleCnt="4"/>
      <dgm:spPr/>
    </dgm:pt>
    <dgm:pt modelId="{B874C0F1-6D1C-1A4C-AA7A-C5835702E199}" type="pres">
      <dgm:prSet presAssocID="{CA827C70-D790-FD47-9542-BE9EFA1BF50F}" presName="textNode" presStyleLbl="bgShp" presStyleIdx="1" presStyleCnt="4"/>
      <dgm:spPr/>
    </dgm:pt>
    <dgm:pt modelId="{7D06E153-21AF-6F45-BF4B-9495C0ED2F7F}" type="pres">
      <dgm:prSet presAssocID="{CA827C70-D790-FD47-9542-BE9EFA1BF50F}" presName="compChildNode" presStyleCnt="0"/>
      <dgm:spPr/>
    </dgm:pt>
    <dgm:pt modelId="{EFA06B66-CBA8-0841-9C9D-99170884F6B6}" type="pres">
      <dgm:prSet presAssocID="{CA827C70-D790-FD47-9542-BE9EFA1BF50F}" presName="theInnerList" presStyleCnt="0"/>
      <dgm:spPr/>
    </dgm:pt>
    <dgm:pt modelId="{115A80D9-88D6-3149-9999-B17034930169}" type="pres">
      <dgm:prSet presAssocID="{7D21486A-5E82-1047-8C4C-9546020379ED}" presName="childNode" presStyleLbl="node1" presStyleIdx="4" presStyleCnt="16">
        <dgm:presLayoutVars>
          <dgm:bulletEnabled val="1"/>
        </dgm:presLayoutVars>
      </dgm:prSet>
      <dgm:spPr/>
    </dgm:pt>
    <dgm:pt modelId="{F1771D35-3E0F-464F-81D6-144E0685E166}" type="pres">
      <dgm:prSet presAssocID="{7D21486A-5E82-1047-8C4C-9546020379ED}" presName="aSpace2" presStyleCnt="0"/>
      <dgm:spPr/>
    </dgm:pt>
    <dgm:pt modelId="{1AEB4F43-4BC2-0841-9C09-FC0E68058830}" type="pres">
      <dgm:prSet presAssocID="{8C900DA9-2171-D64F-B871-48A0A0F648F1}" presName="childNode" presStyleLbl="node1" presStyleIdx="5" presStyleCnt="16">
        <dgm:presLayoutVars>
          <dgm:bulletEnabled val="1"/>
        </dgm:presLayoutVars>
      </dgm:prSet>
      <dgm:spPr/>
    </dgm:pt>
    <dgm:pt modelId="{C0CCA6D7-294B-A342-9464-DF1C62B3CE99}" type="pres">
      <dgm:prSet presAssocID="{8C900DA9-2171-D64F-B871-48A0A0F648F1}" presName="aSpace2" presStyleCnt="0"/>
      <dgm:spPr/>
    </dgm:pt>
    <dgm:pt modelId="{64EA18B7-E0AE-6B42-B343-06BE17BF4A41}" type="pres">
      <dgm:prSet presAssocID="{B1E9B033-32CC-D840-87ED-B8E721924A31}" presName="childNode" presStyleLbl="node1" presStyleIdx="6" presStyleCnt="16">
        <dgm:presLayoutVars>
          <dgm:bulletEnabled val="1"/>
        </dgm:presLayoutVars>
      </dgm:prSet>
      <dgm:spPr/>
    </dgm:pt>
    <dgm:pt modelId="{74D3A195-B45F-5146-8F54-4CDB15043B6A}" type="pres">
      <dgm:prSet presAssocID="{B1E9B033-32CC-D840-87ED-B8E721924A31}" presName="aSpace2" presStyleCnt="0"/>
      <dgm:spPr/>
    </dgm:pt>
    <dgm:pt modelId="{22B91A62-1418-A745-A92B-A7C2CBCBACF1}" type="pres">
      <dgm:prSet presAssocID="{AE7D78AC-8EAC-A14F-B784-C37ADE830D0E}" presName="childNode" presStyleLbl="node1" presStyleIdx="7" presStyleCnt="16">
        <dgm:presLayoutVars>
          <dgm:bulletEnabled val="1"/>
        </dgm:presLayoutVars>
      </dgm:prSet>
      <dgm:spPr/>
    </dgm:pt>
    <dgm:pt modelId="{30D2478D-0927-2C45-AD26-47325BD6AB1C}" type="pres">
      <dgm:prSet presAssocID="{CA827C70-D790-FD47-9542-BE9EFA1BF50F}" presName="aSpace" presStyleCnt="0"/>
      <dgm:spPr/>
    </dgm:pt>
    <dgm:pt modelId="{8F868F73-B5E7-5B43-8972-57B5A390963A}" type="pres">
      <dgm:prSet presAssocID="{25A6FAA3-2F05-1543-8144-03128878127D}" presName="compNode" presStyleCnt="0"/>
      <dgm:spPr/>
    </dgm:pt>
    <dgm:pt modelId="{773FF0C7-3827-AB41-A105-50F56A636BDA}" type="pres">
      <dgm:prSet presAssocID="{25A6FAA3-2F05-1543-8144-03128878127D}" presName="aNode" presStyleLbl="bgShp" presStyleIdx="2" presStyleCnt="4"/>
      <dgm:spPr/>
    </dgm:pt>
    <dgm:pt modelId="{2D8BA240-314B-B748-8170-E012B67E1446}" type="pres">
      <dgm:prSet presAssocID="{25A6FAA3-2F05-1543-8144-03128878127D}" presName="textNode" presStyleLbl="bgShp" presStyleIdx="2" presStyleCnt="4"/>
      <dgm:spPr/>
    </dgm:pt>
    <dgm:pt modelId="{FCEC9F75-2E87-E042-9D1E-F6A0504AD192}" type="pres">
      <dgm:prSet presAssocID="{25A6FAA3-2F05-1543-8144-03128878127D}" presName="compChildNode" presStyleCnt="0"/>
      <dgm:spPr/>
    </dgm:pt>
    <dgm:pt modelId="{ADB67E44-33D2-604C-B742-845A6D80036E}" type="pres">
      <dgm:prSet presAssocID="{25A6FAA3-2F05-1543-8144-03128878127D}" presName="theInnerList" presStyleCnt="0"/>
      <dgm:spPr/>
    </dgm:pt>
    <dgm:pt modelId="{0FF79056-14E4-EF45-A753-00CDFE48E55E}" type="pres">
      <dgm:prSet presAssocID="{AD79BA69-E4E8-A84E-8179-45CE4FB18B68}" presName="childNode" presStyleLbl="node1" presStyleIdx="8" presStyleCnt="16">
        <dgm:presLayoutVars>
          <dgm:bulletEnabled val="1"/>
        </dgm:presLayoutVars>
      </dgm:prSet>
      <dgm:spPr/>
    </dgm:pt>
    <dgm:pt modelId="{8FF5FAC6-6895-F84C-AC70-E5CF825B6B8A}" type="pres">
      <dgm:prSet presAssocID="{AD79BA69-E4E8-A84E-8179-45CE4FB18B68}" presName="aSpace2" presStyleCnt="0"/>
      <dgm:spPr/>
    </dgm:pt>
    <dgm:pt modelId="{F72FC7F7-6216-A947-802B-C0EBF8C25B7C}" type="pres">
      <dgm:prSet presAssocID="{F04E66ED-8DB3-554C-9D98-23F2CEA4786B}" presName="childNode" presStyleLbl="node1" presStyleIdx="9" presStyleCnt="16">
        <dgm:presLayoutVars>
          <dgm:bulletEnabled val="1"/>
        </dgm:presLayoutVars>
      </dgm:prSet>
      <dgm:spPr/>
    </dgm:pt>
    <dgm:pt modelId="{AF105A74-BAC2-404D-BA41-72BC083213F9}" type="pres">
      <dgm:prSet presAssocID="{F04E66ED-8DB3-554C-9D98-23F2CEA4786B}" presName="aSpace2" presStyleCnt="0"/>
      <dgm:spPr/>
    </dgm:pt>
    <dgm:pt modelId="{C0C78F72-3D6B-D746-B992-1791D0C3B2AB}" type="pres">
      <dgm:prSet presAssocID="{17FC70CD-2ABB-BE40-BA9C-B83ADCB0B7CB}" presName="childNode" presStyleLbl="node1" presStyleIdx="10" presStyleCnt="16">
        <dgm:presLayoutVars>
          <dgm:bulletEnabled val="1"/>
        </dgm:presLayoutVars>
      </dgm:prSet>
      <dgm:spPr/>
    </dgm:pt>
    <dgm:pt modelId="{B7B30F20-550E-134A-A5A1-4B4F0E7913CB}" type="pres">
      <dgm:prSet presAssocID="{17FC70CD-2ABB-BE40-BA9C-B83ADCB0B7CB}" presName="aSpace2" presStyleCnt="0"/>
      <dgm:spPr/>
    </dgm:pt>
    <dgm:pt modelId="{DCE34FBB-5A10-0746-B9F4-CFC35BE3C26D}" type="pres">
      <dgm:prSet presAssocID="{54D4C082-4ADD-6343-AD45-D8013C8D2C1A}" presName="childNode" presStyleLbl="node1" presStyleIdx="11" presStyleCnt="16">
        <dgm:presLayoutVars>
          <dgm:bulletEnabled val="1"/>
        </dgm:presLayoutVars>
      </dgm:prSet>
      <dgm:spPr/>
    </dgm:pt>
    <dgm:pt modelId="{F2C522B7-3C2B-A84C-9C28-1102DEFD28F7}" type="pres">
      <dgm:prSet presAssocID="{25A6FAA3-2F05-1543-8144-03128878127D}" presName="aSpace" presStyleCnt="0"/>
      <dgm:spPr/>
    </dgm:pt>
    <dgm:pt modelId="{35CD17F4-B9C2-E746-9B1A-F01D37E35FBA}" type="pres">
      <dgm:prSet presAssocID="{03DEF8AE-F696-5947-AEC4-9A3D0E4632A5}" presName="compNode" presStyleCnt="0"/>
      <dgm:spPr/>
    </dgm:pt>
    <dgm:pt modelId="{B8BC965D-B4B7-7B4F-A901-5ED6CE61F705}" type="pres">
      <dgm:prSet presAssocID="{03DEF8AE-F696-5947-AEC4-9A3D0E4632A5}" presName="aNode" presStyleLbl="bgShp" presStyleIdx="3" presStyleCnt="4"/>
      <dgm:spPr/>
    </dgm:pt>
    <dgm:pt modelId="{83FDBCDD-7F73-914D-98A7-5968784A4323}" type="pres">
      <dgm:prSet presAssocID="{03DEF8AE-F696-5947-AEC4-9A3D0E4632A5}" presName="textNode" presStyleLbl="bgShp" presStyleIdx="3" presStyleCnt="4"/>
      <dgm:spPr/>
    </dgm:pt>
    <dgm:pt modelId="{DD1E71FE-0DBA-704D-A95D-03B92F8A2982}" type="pres">
      <dgm:prSet presAssocID="{03DEF8AE-F696-5947-AEC4-9A3D0E4632A5}" presName="compChildNode" presStyleCnt="0"/>
      <dgm:spPr/>
    </dgm:pt>
    <dgm:pt modelId="{10AB8A76-A8CB-DE49-B336-D41E09EEFB35}" type="pres">
      <dgm:prSet presAssocID="{03DEF8AE-F696-5947-AEC4-9A3D0E4632A5}" presName="theInnerList" presStyleCnt="0"/>
      <dgm:spPr/>
    </dgm:pt>
    <dgm:pt modelId="{1D21091C-C7E1-184E-AD00-EBDC7E4EB08F}" type="pres">
      <dgm:prSet presAssocID="{11250FA6-2A01-9D4F-A160-33306C2BA5A5}" presName="childNode" presStyleLbl="node1" presStyleIdx="12" presStyleCnt="16">
        <dgm:presLayoutVars>
          <dgm:bulletEnabled val="1"/>
        </dgm:presLayoutVars>
      </dgm:prSet>
      <dgm:spPr/>
    </dgm:pt>
    <dgm:pt modelId="{9D5C50BA-9556-6A40-B77F-49FFAA011FFB}" type="pres">
      <dgm:prSet presAssocID="{11250FA6-2A01-9D4F-A160-33306C2BA5A5}" presName="aSpace2" presStyleCnt="0"/>
      <dgm:spPr/>
    </dgm:pt>
    <dgm:pt modelId="{14FB9139-326B-F544-8B40-6052B47B96EE}" type="pres">
      <dgm:prSet presAssocID="{5B37301E-4793-E144-8200-B14D4DC512BE}" presName="childNode" presStyleLbl="node1" presStyleIdx="13" presStyleCnt="16">
        <dgm:presLayoutVars>
          <dgm:bulletEnabled val="1"/>
        </dgm:presLayoutVars>
      </dgm:prSet>
      <dgm:spPr/>
    </dgm:pt>
    <dgm:pt modelId="{B37F314A-8EF6-DF4B-9DF8-9E41D4C29D7F}" type="pres">
      <dgm:prSet presAssocID="{5B37301E-4793-E144-8200-B14D4DC512BE}" presName="aSpace2" presStyleCnt="0"/>
      <dgm:spPr/>
    </dgm:pt>
    <dgm:pt modelId="{A7210346-3BFD-F64E-AF04-21A867F3BA81}" type="pres">
      <dgm:prSet presAssocID="{767904E4-82C3-1A48-A326-8201070C54D5}" presName="childNode" presStyleLbl="node1" presStyleIdx="14" presStyleCnt="16">
        <dgm:presLayoutVars>
          <dgm:bulletEnabled val="1"/>
        </dgm:presLayoutVars>
      </dgm:prSet>
      <dgm:spPr/>
    </dgm:pt>
    <dgm:pt modelId="{8BFF2965-FB75-D046-95E1-85982282D6A6}" type="pres">
      <dgm:prSet presAssocID="{767904E4-82C3-1A48-A326-8201070C54D5}" presName="aSpace2" presStyleCnt="0"/>
      <dgm:spPr/>
    </dgm:pt>
    <dgm:pt modelId="{0C416DF8-59B8-4643-94CA-46A6F881C374}" type="pres">
      <dgm:prSet presAssocID="{C4AC0C6E-6EC7-0B4C-9081-AA5BD7881A43}" presName="childNode" presStyleLbl="node1" presStyleIdx="15" presStyleCnt="16">
        <dgm:presLayoutVars>
          <dgm:bulletEnabled val="1"/>
        </dgm:presLayoutVars>
      </dgm:prSet>
      <dgm:spPr/>
    </dgm:pt>
  </dgm:ptLst>
  <dgm:cxnLst>
    <dgm:cxn modelId="{98F48A02-D4E8-1042-8B9C-18DCC51A8399}" srcId="{25A6FAA3-2F05-1543-8144-03128878127D}" destId="{F04E66ED-8DB3-554C-9D98-23F2CEA4786B}" srcOrd="1" destOrd="0" parTransId="{B7AEFEC8-ECF3-3E4A-847D-5C843A14E05C}" sibTransId="{19706A3E-EC50-AB4C-9BD5-EE238FD00F76}"/>
    <dgm:cxn modelId="{0597FF03-1336-B849-907C-74AD27F166AD}" type="presOf" srcId="{87078487-9CA1-0845-8283-F8B652856ABB}" destId="{82A3CD2A-5FC1-5448-927E-29951B760C26}" srcOrd="0" destOrd="0" presId="urn:microsoft.com/office/officeart/2005/8/layout/lProcess2"/>
    <dgm:cxn modelId="{94E92E05-0D84-CB41-AB81-9D4EB3E45002}" type="presOf" srcId="{B96E4C2D-BD3C-704B-A351-46489F840865}" destId="{348955D0-A1D4-6646-B4DE-D53A87AB446B}" srcOrd="0" destOrd="0" presId="urn:microsoft.com/office/officeart/2005/8/layout/lProcess2"/>
    <dgm:cxn modelId="{06919506-6C8C-B04F-8DD6-8FF2C25E96A5}" type="presOf" srcId="{03DEF8AE-F696-5947-AEC4-9A3D0E4632A5}" destId="{83FDBCDD-7F73-914D-98A7-5968784A4323}" srcOrd="1" destOrd="0" presId="urn:microsoft.com/office/officeart/2005/8/layout/lProcess2"/>
    <dgm:cxn modelId="{AA3F1C14-2F82-604F-A7F9-355AFBBF509B}" type="presOf" srcId="{AD79BA69-E4E8-A84E-8179-45CE4FB18B68}" destId="{0FF79056-14E4-EF45-A753-00CDFE48E55E}" srcOrd="0" destOrd="0" presId="urn:microsoft.com/office/officeart/2005/8/layout/lProcess2"/>
    <dgm:cxn modelId="{56577230-A241-884A-9AE9-214289931929}" srcId="{31F7AFC0-B0D0-5944-A17C-077DA75DC4C1}" destId="{03DEF8AE-F696-5947-AEC4-9A3D0E4632A5}" srcOrd="3" destOrd="0" parTransId="{D4C3D79E-6C77-7143-8B9A-7FFA748CA1D1}" sibTransId="{C40D9A25-F735-AC45-A250-019514FA5ABA}"/>
    <dgm:cxn modelId="{50FD4E3C-701A-184E-B14E-CD8B3A333271}" type="presOf" srcId="{7D21486A-5E82-1047-8C4C-9546020379ED}" destId="{115A80D9-88D6-3149-9999-B17034930169}" srcOrd="0" destOrd="0" presId="urn:microsoft.com/office/officeart/2005/8/layout/lProcess2"/>
    <dgm:cxn modelId="{C05D0C44-FE1E-4746-871E-31C1875107A5}" type="presOf" srcId="{CA827C70-D790-FD47-9542-BE9EFA1BF50F}" destId="{C3F1AE5B-277D-6B48-B0A7-7E32285D3943}" srcOrd="0" destOrd="0" presId="urn:microsoft.com/office/officeart/2005/8/layout/lProcess2"/>
    <dgm:cxn modelId="{0138FC44-1ED5-9D4C-973F-0703547184FC}" type="presOf" srcId="{C4AC0C6E-6EC7-0B4C-9081-AA5BD7881A43}" destId="{0C416DF8-59B8-4643-94CA-46A6F881C374}" srcOrd="0" destOrd="0" presId="urn:microsoft.com/office/officeart/2005/8/layout/lProcess2"/>
    <dgm:cxn modelId="{5744CA5B-C02E-154C-A824-8BE9B61FD275}" type="presOf" srcId="{03DEF8AE-F696-5947-AEC4-9A3D0E4632A5}" destId="{B8BC965D-B4B7-7B4F-A901-5ED6CE61F705}" srcOrd="0" destOrd="0" presId="urn:microsoft.com/office/officeart/2005/8/layout/lProcess2"/>
    <dgm:cxn modelId="{804D495D-2D6F-914D-8668-18B6A5A108E9}" type="presOf" srcId="{AE7D78AC-8EAC-A14F-B784-C37ADE830D0E}" destId="{22B91A62-1418-A745-A92B-A7C2CBCBACF1}" srcOrd="0" destOrd="0" presId="urn:microsoft.com/office/officeart/2005/8/layout/lProcess2"/>
    <dgm:cxn modelId="{FBB74061-F01C-0547-A211-E15DAB2778A0}" srcId="{31F7AFC0-B0D0-5944-A17C-077DA75DC4C1}" destId="{321BF0DC-9ACB-B346-91C8-B4803BF95EF7}" srcOrd="0" destOrd="0" parTransId="{80656F0D-8107-834F-A5FC-615F5C716EF1}" sibTransId="{EC0B477C-F6E0-704D-9361-886C5BDA79ED}"/>
    <dgm:cxn modelId="{8A285D67-DE6D-1443-BE9D-B0C75E6343AA}" type="presOf" srcId="{321BF0DC-9ACB-B346-91C8-B4803BF95EF7}" destId="{5A99C956-2773-EA4A-A03B-C2EF30B7C906}" srcOrd="1" destOrd="0" presId="urn:microsoft.com/office/officeart/2005/8/layout/lProcess2"/>
    <dgm:cxn modelId="{CAEAAF6E-BE8E-E14C-9607-76B61D5BA6BB}" srcId="{31F7AFC0-B0D0-5944-A17C-077DA75DC4C1}" destId="{25A6FAA3-2F05-1543-8144-03128878127D}" srcOrd="2" destOrd="0" parTransId="{3DF8C77C-1047-0845-A6DD-B273F9ACDBE4}" sibTransId="{5137FB0F-CF42-5540-A151-7338ED39C122}"/>
    <dgm:cxn modelId="{B9372E6F-053D-804E-A757-B7C4628995E3}" type="presOf" srcId="{25A6FAA3-2F05-1543-8144-03128878127D}" destId="{773FF0C7-3827-AB41-A105-50F56A636BDA}" srcOrd="0" destOrd="0" presId="urn:microsoft.com/office/officeart/2005/8/layout/lProcess2"/>
    <dgm:cxn modelId="{7E37BD72-BB39-6141-8FED-1CA7A11D54D8}" srcId="{CA827C70-D790-FD47-9542-BE9EFA1BF50F}" destId="{AE7D78AC-8EAC-A14F-B784-C37ADE830D0E}" srcOrd="3" destOrd="0" parTransId="{6FAAE006-F4DD-0C40-8499-58A6328D5D6F}" sibTransId="{B69B2FDE-B7D3-4442-908A-F23CE929C472}"/>
    <dgm:cxn modelId="{E5E09A75-DED0-BE46-86B6-AAB9E0E7EA9F}" type="presOf" srcId="{321BF0DC-9ACB-B346-91C8-B4803BF95EF7}" destId="{9AE00197-519E-124B-9B79-66EAEA9F2653}" srcOrd="0" destOrd="0" presId="urn:microsoft.com/office/officeart/2005/8/layout/lProcess2"/>
    <dgm:cxn modelId="{8A6EBD76-9153-3E43-9B72-86419BEC674B}" type="presOf" srcId="{8C900DA9-2171-D64F-B871-48A0A0F648F1}" destId="{1AEB4F43-4BC2-0841-9C09-FC0E68058830}" srcOrd="0" destOrd="0" presId="urn:microsoft.com/office/officeart/2005/8/layout/lProcess2"/>
    <dgm:cxn modelId="{C9DB697A-0F12-1647-9D4F-9B5F0E9B5FCF}" type="presOf" srcId="{CA827C70-D790-FD47-9542-BE9EFA1BF50F}" destId="{B874C0F1-6D1C-1A4C-AA7A-C5835702E199}" srcOrd="1" destOrd="0" presId="urn:microsoft.com/office/officeart/2005/8/layout/lProcess2"/>
    <dgm:cxn modelId="{C9C81F7F-A37F-984F-9857-37CB5363F9C6}" srcId="{25A6FAA3-2F05-1543-8144-03128878127D}" destId="{54D4C082-4ADD-6343-AD45-D8013C8D2C1A}" srcOrd="3" destOrd="0" parTransId="{B36FAF8F-ED63-1441-B25D-B693C5CA03F7}" sibTransId="{E9F289BC-0DE8-3C4B-A938-B6FAE8FB4054}"/>
    <dgm:cxn modelId="{0B0AEC7F-D8FE-7249-8BC1-D02D559C8561}" type="presOf" srcId="{97601F96-965F-DA49-9B79-E364797149B8}" destId="{012AD63D-DE13-944F-BB20-AE36A7861ADD}" srcOrd="0" destOrd="0" presId="urn:microsoft.com/office/officeart/2005/8/layout/lProcess2"/>
    <dgm:cxn modelId="{27D36880-0D48-504E-AC2D-88D7409C6E42}" type="presOf" srcId="{11250FA6-2A01-9D4F-A160-33306C2BA5A5}" destId="{1D21091C-C7E1-184E-AD00-EBDC7E4EB08F}" srcOrd="0" destOrd="0" presId="urn:microsoft.com/office/officeart/2005/8/layout/lProcess2"/>
    <dgm:cxn modelId="{7CD7D787-B93A-8742-995D-F90CF9B16E1C}" srcId="{25A6FAA3-2F05-1543-8144-03128878127D}" destId="{AD79BA69-E4E8-A84E-8179-45CE4FB18B68}" srcOrd="0" destOrd="0" parTransId="{C070CB60-3C77-B042-BF40-75EE5CC2D36A}" sibTransId="{E8DFD347-4215-7B4A-B37B-772D5BE6B3FE}"/>
    <dgm:cxn modelId="{B9A4F093-0412-6046-BF20-D40A94219BA1}" srcId="{03DEF8AE-F696-5947-AEC4-9A3D0E4632A5}" destId="{5B37301E-4793-E144-8200-B14D4DC512BE}" srcOrd="1" destOrd="0" parTransId="{AA14B8E2-BE47-F34C-92E2-3DF5AEFA6040}" sibTransId="{D0FAEC38-05A0-694E-8A17-C5FBC0C96C09}"/>
    <dgm:cxn modelId="{AC0D1195-D028-B940-9829-CED325C0636B}" type="presOf" srcId="{25A6FAA3-2F05-1543-8144-03128878127D}" destId="{2D8BA240-314B-B748-8170-E012B67E1446}" srcOrd="1" destOrd="0" presId="urn:microsoft.com/office/officeart/2005/8/layout/lProcess2"/>
    <dgm:cxn modelId="{C80F4199-9E4F-EB49-8AF1-52D6B3452544}" type="presOf" srcId="{17FC70CD-2ABB-BE40-BA9C-B83ADCB0B7CB}" destId="{C0C78F72-3D6B-D746-B992-1791D0C3B2AB}" srcOrd="0" destOrd="0" presId="urn:microsoft.com/office/officeart/2005/8/layout/lProcess2"/>
    <dgm:cxn modelId="{B5AF989D-1A25-A34F-9878-4C5765A2A26A}" srcId="{321BF0DC-9ACB-B346-91C8-B4803BF95EF7}" destId="{97601F96-965F-DA49-9B79-E364797149B8}" srcOrd="3" destOrd="0" parTransId="{3713CE88-06D0-1C4E-B9CA-C6B30A68EE09}" sibTransId="{C00C0390-7082-6346-A3AE-283E2270CF90}"/>
    <dgm:cxn modelId="{FE740CA3-0E6E-3542-B534-555074C24FF6}" srcId="{CA827C70-D790-FD47-9542-BE9EFA1BF50F}" destId="{7D21486A-5E82-1047-8C4C-9546020379ED}" srcOrd="0" destOrd="0" parTransId="{7C363ADD-E62A-9D47-8D06-EBB1AFD54F9F}" sibTransId="{88AE3DB6-4483-894C-848C-6D1683A927C3}"/>
    <dgm:cxn modelId="{35BE11A4-8DB2-3947-AC56-3C49DB682A87}" srcId="{03DEF8AE-F696-5947-AEC4-9A3D0E4632A5}" destId="{C4AC0C6E-6EC7-0B4C-9081-AA5BD7881A43}" srcOrd="3" destOrd="0" parTransId="{6619A841-04C2-C548-BADF-CB7EC9780ACF}" sibTransId="{4134C205-57BE-FE42-B7F8-6E9F17D5C8F6}"/>
    <dgm:cxn modelId="{5A505AAB-5D3E-E343-9C59-77DA97C77B3E}" type="presOf" srcId="{5B37301E-4793-E144-8200-B14D4DC512BE}" destId="{14FB9139-326B-F544-8B40-6052B47B96EE}" srcOrd="0" destOrd="0" presId="urn:microsoft.com/office/officeart/2005/8/layout/lProcess2"/>
    <dgm:cxn modelId="{AC3A18AC-0DD3-094B-AECB-EAAE9AA51C91}" type="presOf" srcId="{F04E66ED-8DB3-554C-9D98-23F2CEA4786B}" destId="{F72FC7F7-6216-A947-802B-C0EBF8C25B7C}" srcOrd="0" destOrd="0" presId="urn:microsoft.com/office/officeart/2005/8/layout/lProcess2"/>
    <dgm:cxn modelId="{D5A431B8-E42C-9A4D-8ECD-F0E5144A78DA}" srcId="{31F7AFC0-B0D0-5944-A17C-077DA75DC4C1}" destId="{CA827C70-D790-FD47-9542-BE9EFA1BF50F}" srcOrd="1" destOrd="0" parTransId="{6D1F57C6-BB99-8649-8742-A83580AFDE2B}" sibTransId="{A04F7945-2455-8448-8EEB-B25A4AD1ECC0}"/>
    <dgm:cxn modelId="{5BBBFFBA-D1CE-3B48-AB0C-01F5B542E498}" srcId="{CA827C70-D790-FD47-9542-BE9EFA1BF50F}" destId="{8C900DA9-2171-D64F-B871-48A0A0F648F1}" srcOrd="1" destOrd="0" parTransId="{567B98DA-3697-A64E-AE9F-5AA0B2A5A541}" sibTransId="{DF991E22-1952-8049-9EC2-58395144C2D8}"/>
    <dgm:cxn modelId="{47F05AC3-4734-E442-BAE8-484499EC2562}" type="presOf" srcId="{767904E4-82C3-1A48-A326-8201070C54D5}" destId="{A7210346-3BFD-F64E-AF04-21A867F3BA81}" srcOrd="0" destOrd="0" presId="urn:microsoft.com/office/officeart/2005/8/layout/lProcess2"/>
    <dgm:cxn modelId="{F0F48BCE-C153-0141-9461-BBA15ABC89CE}" srcId="{03DEF8AE-F696-5947-AEC4-9A3D0E4632A5}" destId="{11250FA6-2A01-9D4F-A160-33306C2BA5A5}" srcOrd="0" destOrd="0" parTransId="{7A600BCF-FB4E-A946-A9FC-63AF60A041FA}" sibTransId="{D3A1AF1C-B1FE-664F-8306-5E801B1AF650}"/>
    <dgm:cxn modelId="{8EE172D0-231D-F046-84C4-2C10C5F3C39B}" type="presOf" srcId="{B1E9B033-32CC-D840-87ED-B8E721924A31}" destId="{64EA18B7-E0AE-6B42-B343-06BE17BF4A41}" srcOrd="0" destOrd="0" presId="urn:microsoft.com/office/officeart/2005/8/layout/lProcess2"/>
    <dgm:cxn modelId="{6A84B6D2-CF30-0643-A401-80D87EE681C9}" type="presOf" srcId="{54D4C082-4ADD-6343-AD45-D8013C8D2C1A}" destId="{DCE34FBB-5A10-0746-B9F4-CFC35BE3C26D}" srcOrd="0" destOrd="0" presId="urn:microsoft.com/office/officeart/2005/8/layout/lProcess2"/>
    <dgm:cxn modelId="{DB8AABDF-52D6-C24F-9FF4-98E8225E7FD6}" type="presOf" srcId="{1E5F7A23-6B1F-FD42-BE61-393A35857BCA}" destId="{3A946ED8-367E-8A47-A3D5-F7F78C8BD07F}" srcOrd="0" destOrd="0" presId="urn:microsoft.com/office/officeart/2005/8/layout/lProcess2"/>
    <dgm:cxn modelId="{193E07EA-DED5-7B47-B74E-313EAACDA994}" srcId="{321BF0DC-9ACB-B346-91C8-B4803BF95EF7}" destId="{1E5F7A23-6B1F-FD42-BE61-393A35857BCA}" srcOrd="2" destOrd="0" parTransId="{B5865F4C-C86F-BA48-B07A-42B963881A8D}" sibTransId="{DB889A19-73EB-834A-B91E-922D4415A203}"/>
    <dgm:cxn modelId="{FA928AEA-8ABD-A248-9DE9-A00313D7E723}" srcId="{03DEF8AE-F696-5947-AEC4-9A3D0E4632A5}" destId="{767904E4-82C3-1A48-A326-8201070C54D5}" srcOrd="2" destOrd="0" parTransId="{664A5836-777F-D04B-98C7-EB1824E1B234}" sibTransId="{29DC7A90-D71E-234A-8E67-6E69A52D6A26}"/>
    <dgm:cxn modelId="{2EE6EBF3-0AA7-F541-A105-E5E2F1397A26}" srcId="{321BF0DC-9ACB-B346-91C8-B4803BF95EF7}" destId="{87078487-9CA1-0845-8283-F8B652856ABB}" srcOrd="1" destOrd="0" parTransId="{A8E52670-D948-4945-BA49-CA8A05D6EF3B}" sibTransId="{0A83FAF8-7A01-6548-8B84-4C343D4C6A40}"/>
    <dgm:cxn modelId="{7D8FEAF7-57E5-744B-97B2-C1FE01FB9D5A}" srcId="{CA827C70-D790-FD47-9542-BE9EFA1BF50F}" destId="{B1E9B033-32CC-D840-87ED-B8E721924A31}" srcOrd="2" destOrd="0" parTransId="{DA77AA12-69C7-E947-90FE-8D5C445EECD4}" sibTransId="{64D73109-B7FC-4C43-8A77-0BD15CB2B600}"/>
    <dgm:cxn modelId="{844CCFF9-F277-B547-9CAD-1F6036140AE3}" srcId="{321BF0DC-9ACB-B346-91C8-B4803BF95EF7}" destId="{B96E4C2D-BD3C-704B-A351-46489F840865}" srcOrd="0" destOrd="0" parTransId="{B8405BA1-1A2B-CF47-967B-2A6266DD05ED}" sibTransId="{E23022DC-B074-1E48-ABED-900836ED32D7}"/>
    <dgm:cxn modelId="{744EC4FB-486B-7742-8B81-55F0AAF254D6}" srcId="{25A6FAA3-2F05-1543-8144-03128878127D}" destId="{17FC70CD-2ABB-BE40-BA9C-B83ADCB0B7CB}" srcOrd="2" destOrd="0" parTransId="{5767EA09-B65A-CA45-B1BA-0ED537184165}" sibTransId="{934259A6-A5A5-D246-BA00-5EC8DA71F3AC}"/>
    <dgm:cxn modelId="{5A9871FC-C110-2645-A65B-60B7879201A2}" type="presOf" srcId="{31F7AFC0-B0D0-5944-A17C-077DA75DC4C1}" destId="{8BFCF53D-A8CA-5A41-A1F7-0E94CA238007}" srcOrd="0" destOrd="0" presId="urn:microsoft.com/office/officeart/2005/8/layout/lProcess2"/>
    <dgm:cxn modelId="{8E580E61-33D0-5149-ACA4-27149CD33A01}" type="presParOf" srcId="{8BFCF53D-A8CA-5A41-A1F7-0E94CA238007}" destId="{DDF1429A-2059-4149-AC99-82AE933A7506}" srcOrd="0" destOrd="0" presId="urn:microsoft.com/office/officeart/2005/8/layout/lProcess2"/>
    <dgm:cxn modelId="{76DA3893-8804-9040-B6F2-1C1502683A9C}" type="presParOf" srcId="{DDF1429A-2059-4149-AC99-82AE933A7506}" destId="{9AE00197-519E-124B-9B79-66EAEA9F2653}" srcOrd="0" destOrd="0" presId="urn:microsoft.com/office/officeart/2005/8/layout/lProcess2"/>
    <dgm:cxn modelId="{3AF653E6-C8EF-664B-BB7C-FD2ECD0F8964}" type="presParOf" srcId="{DDF1429A-2059-4149-AC99-82AE933A7506}" destId="{5A99C956-2773-EA4A-A03B-C2EF30B7C906}" srcOrd="1" destOrd="0" presId="urn:microsoft.com/office/officeart/2005/8/layout/lProcess2"/>
    <dgm:cxn modelId="{DA718E8D-7D3E-684D-AE4B-38D23ABE0549}" type="presParOf" srcId="{DDF1429A-2059-4149-AC99-82AE933A7506}" destId="{ACD5B54C-CC3B-9443-AA86-2A5D0466AAA3}" srcOrd="2" destOrd="0" presId="urn:microsoft.com/office/officeart/2005/8/layout/lProcess2"/>
    <dgm:cxn modelId="{ECC96787-5CF2-9241-AD55-CBB6755B1628}" type="presParOf" srcId="{ACD5B54C-CC3B-9443-AA86-2A5D0466AAA3}" destId="{F18AB777-4B34-AF4A-A19D-A9646AE964FF}" srcOrd="0" destOrd="0" presId="urn:microsoft.com/office/officeart/2005/8/layout/lProcess2"/>
    <dgm:cxn modelId="{0C8F1678-6AEF-2A45-BBF4-CD455E2D4EDD}" type="presParOf" srcId="{F18AB777-4B34-AF4A-A19D-A9646AE964FF}" destId="{348955D0-A1D4-6646-B4DE-D53A87AB446B}" srcOrd="0" destOrd="0" presId="urn:microsoft.com/office/officeart/2005/8/layout/lProcess2"/>
    <dgm:cxn modelId="{1A3D2C2C-49E3-F54E-AE25-F94DDF1692E8}" type="presParOf" srcId="{F18AB777-4B34-AF4A-A19D-A9646AE964FF}" destId="{718CF9FF-309F-9848-AE94-44EACD04F18B}" srcOrd="1" destOrd="0" presId="urn:microsoft.com/office/officeart/2005/8/layout/lProcess2"/>
    <dgm:cxn modelId="{13877E13-507E-E24A-ACAB-CAA1C7401A3B}" type="presParOf" srcId="{F18AB777-4B34-AF4A-A19D-A9646AE964FF}" destId="{82A3CD2A-5FC1-5448-927E-29951B760C26}" srcOrd="2" destOrd="0" presId="urn:microsoft.com/office/officeart/2005/8/layout/lProcess2"/>
    <dgm:cxn modelId="{87D7F57E-10E9-0847-A802-343A834CA394}" type="presParOf" srcId="{F18AB777-4B34-AF4A-A19D-A9646AE964FF}" destId="{3EBD9F51-40F9-6944-8588-7E8B38551FB1}" srcOrd="3" destOrd="0" presId="urn:microsoft.com/office/officeart/2005/8/layout/lProcess2"/>
    <dgm:cxn modelId="{02535C0C-0CC2-7A4F-8E04-F7B55C760F95}" type="presParOf" srcId="{F18AB777-4B34-AF4A-A19D-A9646AE964FF}" destId="{3A946ED8-367E-8A47-A3D5-F7F78C8BD07F}" srcOrd="4" destOrd="0" presId="urn:microsoft.com/office/officeart/2005/8/layout/lProcess2"/>
    <dgm:cxn modelId="{7AB9B103-B3BA-1E44-9D4E-58C1E04E6A38}" type="presParOf" srcId="{F18AB777-4B34-AF4A-A19D-A9646AE964FF}" destId="{973F10FF-8987-2744-9685-2049C2EB6142}" srcOrd="5" destOrd="0" presId="urn:microsoft.com/office/officeart/2005/8/layout/lProcess2"/>
    <dgm:cxn modelId="{837D8961-49E2-FB46-9577-D8BC2176BE2A}" type="presParOf" srcId="{F18AB777-4B34-AF4A-A19D-A9646AE964FF}" destId="{012AD63D-DE13-944F-BB20-AE36A7861ADD}" srcOrd="6" destOrd="0" presId="urn:microsoft.com/office/officeart/2005/8/layout/lProcess2"/>
    <dgm:cxn modelId="{70341FBA-39B2-1046-8EE5-B191C1FED4C9}" type="presParOf" srcId="{8BFCF53D-A8CA-5A41-A1F7-0E94CA238007}" destId="{F0180B71-6A0B-B545-8C56-6CEA663287DB}" srcOrd="1" destOrd="0" presId="urn:microsoft.com/office/officeart/2005/8/layout/lProcess2"/>
    <dgm:cxn modelId="{8FC99298-120E-6144-9EEF-C1194E161CFD}" type="presParOf" srcId="{8BFCF53D-A8CA-5A41-A1F7-0E94CA238007}" destId="{E8AB3079-7198-CD4D-A74F-F81B05712D45}" srcOrd="2" destOrd="0" presId="urn:microsoft.com/office/officeart/2005/8/layout/lProcess2"/>
    <dgm:cxn modelId="{DB802236-0192-9140-A94D-7D9571FD9DCC}" type="presParOf" srcId="{E8AB3079-7198-CD4D-A74F-F81B05712D45}" destId="{C3F1AE5B-277D-6B48-B0A7-7E32285D3943}" srcOrd="0" destOrd="0" presId="urn:microsoft.com/office/officeart/2005/8/layout/lProcess2"/>
    <dgm:cxn modelId="{12A69020-74E8-F542-9AA7-27E2678FECCC}" type="presParOf" srcId="{E8AB3079-7198-CD4D-A74F-F81B05712D45}" destId="{B874C0F1-6D1C-1A4C-AA7A-C5835702E199}" srcOrd="1" destOrd="0" presId="urn:microsoft.com/office/officeart/2005/8/layout/lProcess2"/>
    <dgm:cxn modelId="{26DE4D0B-8FB0-8243-BFD5-0602404F3A36}" type="presParOf" srcId="{E8AB3079-7198-CD4D-A74F-F81B05712D45}" destId="{7D06E153-21AF-6F45-BF4B-9495C0ED2F7F}" srcOrd="2" destOrd="0" presId="urn:microsoft.com/office/officeart/2005/8/layout/lProcess2"/>
    <dgm:cxn modelId="{4D90D2DD-313A-0647-A9E3-649DF2CD47E2}" type="presParOf" srcId="{7D06E153-21AF-6F45-BF4B-9495C0ED2F7F}" destId="{EFA06B66-CBA8-0841-9C9D-99170884F6B6}" srcOrd="0" destOrd="0" presId="urn:microsoft.com/office/officeart/2005/8/layout/lProcess2"/>
    <dgm:cxn modelId="{8081A5ED-1CC2-2142-9418-7BAB21FC3136}" type="presParOf" srcId="{EFA06B66-CBA8-0841-9C9D-99170884F6B6}" destId="{115A80D9-88D6-3149-9999-B17034930169}" srcOrd="0" destOrd="0" presId="urn:microsoft.com/office/officeart/2005/8/layout/lProcess2"/>
    <dgm:cxn modelId="{4BBDD4F1-B84B-894B-8AC6-2B30901D099E}" type="presParOf" srcId="{EFA06B66-CBA8-0841-9C9D-99170884F6B6}" destId="{F1771D35-3E0F-464F-81D6-144E0685E166}" srcOrd="1" destOrd="0" presId="urn:microsoft.com/office/officeart/2005/8/layout/lProcess2"/>
    <dgm:cxn modelId="{336987F1-AC4F-E84E-81A1-EBDB119178DC}" type="presParOf" srcId="{EFA06B66-CBA8-0841-9C9D-99170884F6B6}" destId="{1AEB4F43-4BC2-0841-9C09-FC0E68058830}" srcOrd="2" destOrd="0" presId="urn:microsoft.com/office/officeart/2005/8/layout/lProcess2"/>
    <dgm:cxn modelId="{1C28D671-6F1C-A048-A8AA-03A8F12F0377}" type="presParOf" srcId="{EFA06B66-CBA8-0841-9C9D-99170884F6B6}" destId="{C0CCA6D7-294B-A342-9464-DF1C62B3CE99}" srcOrd="3" destOrd="0" presId="urn:microsoft.com/office/officeart/2005/8/layout/lProcess2"/>
    <dgm:cxn modelId="{D45AA3C0-D2F8-B840-8D6A-769987BEC618}" type="presParOf" srcId="{EFA06B66-CBA8-0841-9C9D-99170884F6B6}" destId="{64EA18B7-E0AE-6B42-B343-06BE17BF4A41}" srcOrd="4" destOrd="0" presId="urn:microsoft.com/office/officeart/2005/8/layout/lProcess2"/>
    <dgm:cxn modelId="{93E9711D-4D1B-FC46-B36D-4648D37F020C}" type="presParOf" srcId="{EFA06B66-CBA8-0841-9C9D-99170884F6B6}" destId="{74D3A195-B45F-5146-8F54-4CDB15043B6A}" srcOrd="5" destOrd="0" presId="urn:microsoft.com/office/officeart/2005/8/layout/lProcess2"/>
    <dgm:cxn modelId="{643376E8-9A08-EC4E-B703-8A8448B2ED0F}" type="presParOf" srcId="{EFA06B66-CBA8-0841-9C9D-99170884F6B6}" destId="{22B91A62-1418-A745-A92B-A7C2CBCBACF1}" srcOrd="6" destOrd="0" presId="urn:microsoft.com/office/officeart/2005/8/layout/lProcess2"/>
    <dgm:cxn modelId="{BF434B78-DD5D-434A-A2A5-8B01742F41B5}" type="presParOf" srcId="{8BFCF53D-A8CA-5A41-A1F7-0E94CA238007}" destId="{30D2478D-0927-2C45-AD26-47325BD6AB1C}" srcOrd="3" destOrd="0" presId="urn:microsoft.com/office/officeart/2005/8/layout/lProcess2"/>
    <dgm:cxn modelId="{D1BD717E-E3E5-1345-92FF-388DB313373B}" type="presParOf" srcId="{8BFCF53D-A8CA-5A41-A1F7-0E94CA238007}" destId="{8F868F73-B5E7-5B43-8972-57B5A390963A}" srcOrd="4" destOrd="0" presId="urn:microsoft.com/office/officeart/2005/8/layout/lProcess2"/>
    <dgm:cxn modelId="{4F61E28A-BDF9-0F4A-B43D-52E7F6F6EC37}" type="presParOf" srcId="{8F868F73-B5E7-5B43-8972-57B5A390963A}" destId="{773FF0C7-3827-AB41-A105-50F56A636BDA}" srcOrd="0" destOrd="0" presId="urn:microsoft.com/office/officeart/2005/8/layout/lProcess2"/>
    <dgm:cxn modelId="{896F88E5-1F0A-654B-9520-6ABD53756049}" type="presParOf" srcId="{8F868F73-B5E7-5B43-8972-57B5A390963A}" destId="{2D8BA240-314B-B748-8170-E012B67E1446}" srcOrd="1" destOrd="0" presId="urn:microsoft.com/office/officeart/2005/8/layout/lProcess2"/>
    <dgm:cxn modelId="{98A5EA18-57E8-F145-9B45-50DBD3FDBDE9}" type="presParOf" srcId="{8F868F73-B5E7-5B43-8972-57B5A390963A}" destId="{FCEC9F75-2E87-E042-9D1E-F6A0504AD192}" srcOrd="2" destOrd="0" presId="urn:microsoft.com/office/officeart/2005/8/layout/lProcess2"/>
    <dgm:cxn modelId="{4F1F4219-7CB8-AA47-A7C9-4A1ED7BEBC6E}" type="presParOf" srcId="{FCEC9F75-2E87-E042-9D1E-F6A0504AD192}" destId="{ADB67E44-33D2-604C-B742-845A6D80036E}" srcOrd="0" destOrd="0" presId="urn:microsoft.com/office/officeart/2005/8/layout/lProcess2"/>
    <dgm:cxn modelId="{B4DAEAF3-ABA4-3C42-B19E-DBB200D60FD3}" type="presParOf" srcId="{ADB67E44-33D2-604C-B742-845A6D80036E}" destId="{0FF79056-14E4-EF45-A753-00CDFE48E55E}" srcOrd="0" destOrd="0" presId="urn:microsoft.com/office/officeart/2005/8/layout/lProcess2"/>
    <dgm:cxn modelId="{D7424C6A-5DD0-AE43-BDFB-E37575CFDEB1}" type="presParOf" srcId="{ADB67E44-33D2-604C-B742-845A6D80036E}" destId="{8FF5FAC6-6895-F84C-AC70-E5CF825B6B8A}" srcOrd="1" destOrd="0" presId="urn:microsoft.com/office/officeart/2005/8/layout/lProcess2"/>
    <dgm:cxn modelId="{E564581D-3A2F-7443-A76C-2F877CFDBBE8}" type="presParOf" srcId="{ADB67E44-33D2-604C-B742-845A6D80036E}" destId="{F72FC7F7-6216-A947-802B-C0EBF8C25B7C}" srcOrd="2" destOrd="0" presId="urn:microsoft.com/office/officeart/2005/8/layout/lProcess2"/>
    <dgm:cxn modelId="{5B79CD45-E99F-BF4E-958A-AD0A144F373C}" type="presParOf" srcId="{ADB67E44-33D2-604C-B742-845A6D80036E}" destId="{AF105A74-BAC2-404D-BA41-72BC083213F9}" srcOrd="3" destOrd="0" presId="urn:microsoft.com/office/officeart/2005/8/layout/lProcess2"/>
    <dgm:cxn modelId="{13AAA37E-2C64-624B-B9BA-6AAE374A90AB}" type="presParOf" srcId="{ADB67E44-33D2-604C-B742-845A6D80036E}" destId="{C0C78F72-3D6B-D746-B992-1791D0C3B2AB}" srcOrd="4" destOrd="0" presId="urn:microsoft.com/office/officeart/2005/8/layout/lProcess2"/>
    <dgm:cxn modelId="{1B568EAF-B4BE-1942-831B-56D034CA732B}" type="presParOf" srcId="{ADB67E44-33D2-604C-B742-845A6D80036E}" destId="{B7B30F20-550E-134A-A5A1-4B4F0E7913CB}" srcOrd="5" destOrd="0" presId="urn:microsoft.com/office/officeart/2005/8/layout/lProcess2"/>
    <dgm:cxn modelId="{68C9071C-7FA8-B74E-B346-9321E7AA1909}" type="presParOf" srcId="{ADB67E44-33D2-604C-B742-845A6D80036E}" destId="{DCE34FBB-5A10-0746-B9F4-CFC35BE3C26D}" srcOrd="6" destOrd="0" presId="urn:microsoft.com/office/officeart/2005/8/layout/lProcess2"/>
    <dgm:cxn modelId="{E3A4FD85-2761-E646-B2CF-36A3862DB6B9}" type="presParOf" srcId="{8BFCF53D-A8CA-5A41-A1F7-0E94CA238007}" destId="{F2C522B7-3C2B-A84C-9C28-1102DEFD28F7}" srcOrd="5" destOrd="0" presId="urn:microsoft.com/office/officeart/2005/8/layout/lProcess2"/>
    <dgm:cxn modelId="{5B590430-B9FB-9247-8B22-713CBFA96692}" type="presParOf" srcId="{8BFCF53D-A8CA-5A41-A1F7-0E94CA238007}" destId="{35CD17F4-B9C2-E746-9B1A-F01D37E35FBA}" srcOrd="6" destOrd="0" presId="urn:microsoft.com/office/officeart/2005/8/layout/lProcess2"/>
    <dgm:cxn modelId="{2B4EA2BD-D88C-724A-B01C-CE086A0B3F77}" type="presParOf" srcId="{35CD17F4-B9C2-E746-9B1A-F01D37E35FBA}" destId="{B8BC965D-B4B7-7B4F-A901-5ED6CE61F705}" srcOrd="0" destOrd="0" presId="urn:microsoft.com/office/officeart/2005/8/layout/lProcess2"/>
    <dgm:cxn modelId="{15C746B8-EE49-454D-B84E-E79871AAA5E6}" type="presParOf" srcId="{35CD17F4-B9C2-E746-9B1A-F01D37E35FBA}" destId="{83FDBCDD-7F73-914D-98A7-5968784A4323}" srcOrd="1" destOrd="0" presId="urn:microsoft.com/office/officeart/2005/8/layout/lProcess2"/>
    <dgm:cxn modelId="{5696CAD4-A966-1844-833E-B2CE6FB34626}" type="presParOf" srcId="{35CD17F4-B9C2-E746-9B1A-F01D37E35FBA}" destId="{DD1E71FE-0DBA-704D-A95D-03B92F8A2982}" srcOrd="2" destOrd="0" presId="urn:microsoft.com/office/officeart/2005/8/layout/lProcess2"/>
    <dgm:cxn modelId="{2936583B-1327-7C44-AC20-1EDB147CC522}" type="presParOf" srcId="{DD1E71FE-0DBA-704D-A95D-03B92F8A2982}" destId="{10AB8A76-A8CB-DE49-B336-D41E09EEFB35}" srcOrd="0" destOrd="0" presId="urn:microsoft.com/office/officeart/2005/8/layout/lProcess2"/>
    <dgm:cxn modelId="{69303CBC-4719-C44D-A264-47CDE0CBD0E3}" type="presParOf" srcId="{10AB8A76-A8CB-DE49-B336-D41E09EEFB35}" destId="{1D21091C-C7E1-184E-AD00-EBDC7E4EB08F}" srcOrd="0" destOrd="0" presId="urn:microsoft.com/office/officeart/2005/8/layout/lProcess2"/>
    <dgm:cxn modelId="{409092E1-C220-524C-BC51-E17F21DD3566}" type="presParOf" srcId="{10AB8A76-A8CB-DE49-B336-D41E09EEFB35}" destId="{9D5C50BA-9556-6A40-B77F-49FFAA011FFB}" srcOrd="1" destOrd="0" presId="urn:microsoft.com/office/officeart/2005/8/layout/lProcess2"/>
    <dgm:cxn modelId="{7E272B04-EF83-274B-8CEE-9A4ECF21BBE7}" type="presParOf" srcId="{10AB8A76-A8CB-DE49-B336-D41E09EEFB35}" destId="{14FB9139-326B-F544-8B40-6052B47B96EE}" srcOrd="2" destOrd="0" presId="urn:microsoft.com/office/officeart/2005/8/layout/lProcess2"/>
    <dgm:cxn modelId="{BACF7E3D-40D2-3348-9759-2C28C4A1779B}" type="presParOf" srcId="{10AB8A76-A8CB-DE49-B336-D41E09EEFB35}" destId="{B37F314A-8EF6-DF4B-9DF8-9E41D4C29D7F}" srcOrd="3" destOrd="0" presId="urn:microsoft.com/office/officeart/2005/8/layout/lProcess2"/>
    <dgm:cxn modelId="{B4C9113D-AA60-6D44-BD29-A4B16603FCF3}" type="presParOf" srcId="{10AB8A76-A8CB-DE49-B336-D41E09EEFB35}" destId="{A7210346-3BFD-F64E-AF04-21A867F3BA81}" srcOrd="4" destOrd="0" presId="urn:microsoft.com/office/officeart/2005/8/layout/lProcess2"/>
    <dgm:cxn modelId="{95243EC3-F532-4E48-BB8E-023C49606EB3}" type="presParOf" srcId="{10AB8A76-A8CB-DE49-B336-D41E09EEFB35}" destId="{8BFF2965-FB75-D046-95E1-85982282D6A6}" srcOrd="5" destOrd="0" presId="urn:microsoft.com/office/officeart/2005/8/layout/lProcess2"/>
    <dgm:cxn modelId="{514566AD-947F-8248-BE7D-23B3B7D4D220}" type="presParOf" srcId="{10AB8A76-A8CB-DE49-B336-D41E09EEFB35}" destId="{0C416DF8-59B8-4643-94CA-46A6F881C374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E614A8F-B8F6-A348-AA5E-AF6B922CDD5E}" type="doc">
      <dgm:prSet loTypeId="urn:microsoft.com/office/officeart/2005/8/layout/cycle1" loCatId="cycle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3780D8F2-BC04-7748-A1D4-BF5996D54538}">
      <dgm:prSet/>
      <dgm:spPr/>
      <dgm:t>
        <a:bodyPr/>
        <a:lstStyle/>
        <a:p>
          <a:pPr rtl="0"/>
          <a:r>
            <a:rPr lang="en-US" b="1" dirty="0"/>
            <a:t>Set goal  </a:t>
          </a:r>
          <a:endParaRPr lang="en-US" dirty="0"/>
        </a:p>
      </dgm:t>
    </dgm:pt>
    <dgm:pt modelId="{0A4C6137-11F9-9241-A1FE-77DE24E39A78}" type="parTrans" cxnId="{BC0C1FAA-1491-AB49-ABBE-051319DA9328}">
      <dgm:prSet/>
      <dgm:spPr/>
      <dgm:t>
        <a:bodyPr/>
        <a:lstStyle/>
        <a:p>
          <a:endParaRPr lang="en-US"/>
        </a:p>
      </dgm:t>
    </dgm:pt>
    <dgm:pt modelId="{81712147-8ED8-3C44-805D-8DCE6DC5ECA9}" type="sibTrans" cxnId="{BC0C1FAA-1491-AB49-ABBE-051319DA9328}">
      <dgm:prSet/>
      <dgm:spPr/>
      <dgm:t>
        <a:bodyPr/>
        <a:lstStyle/>
        <a:p>
          <a:endParaRPr lang="en-US"/>
        </a:p>
      </dgm:t>
    </dgm:pt>
    <dgm:pt modelId="{4FA35D2E-AD33-B14A-954C-8D2E8AB468CC}">
      <dgm:prSet/>
      <dgm:spPr/>
      <dgm:t>
        <a:bodyPr/>
        <a:lstStyle/>
        <a:p>
          <a:pPr rtl="0"/>
          <a:r>
            <a:rPr lang="en-US" b="1" dirty="0"/>
            <a:t>Instrument</a:t>
          </a:r>
          <a:endParaRPr lang="en-US" dirty="0"/>
        </a:p>
      </dgm:t>
    </dgm:pt>
    <dgm:pt modelId="{CE1CEAFB-1EF6-0740-B7BD-7E73D2A100BB}" type="parTrans" cxnId="{57C69977-DAC3-624D-89AE-38243BDD3A8C}">
      <dgm:prSet/>
      <dgm:spPr/>
      <dgm:t>
        <a:bodyPr/>
        <a:lstStyle/>
        <a:p>
          <a:endParaRPr lang="en-US"/>
        </a:p>
      </dgm:t>
    </dgm:pt>
    <dgm:pt modelId="{BBF08B31-3AD1-204E-A415-9F54F3AA70A1}" type="sibTrans" cxnId="{57C69977-DAC3-624D-89AE-38243BDD3A8C}">
      <dgm:prSet/>
      <dgm:spPr/>
      <dgm:t>
        <a:bodyPr/>
        <a:lstStyle/>
        <a:p>
          <a:endParaRPr lang="en-US"/>
        </a:p>
      </dgm:t>
    </dgm:pt>
    <dgm:pt modelId="{11710E27-AF78-6446-85DF-7C89D974625D}">
      <dgm:prSet/>
      <dgm:spPr/>
      <dgm:t>
        <a:bodyPr/>
        <a:lstStyle/>
        <a:p>
          <a:pPr rtl="0"/>
          <a:r>
            <a:rPr lang="en-US" b="1" dirty="0"/>
            <a:t>Make visible </a:t>
          </a:r>
          <a:endParaRPr lang="en-US" dirty="0"/>
        </a:p>
      </dgm:t>
    </dgm:pt>
    <dgm:pt modelId="{FD50309E-30AD-B04A-A89C-1D50CA1DC638}" type="parTrans" cxnId="{88DF5648-B4A0-6A4D-9A86-D25013CB570C}">
      <dgm:prSet/>
      <dgm:spPr/>
      <dgm:t>
        <a:bodyPr/>
        <a:lstStyle/>
        <a:p>
          <a:endParaRPr lang="en-US"/>
        </a:p>
      </dgm:t>
    </dgm:pt>
    <dgm:pt modelId="{2CE6508C-F882-464C-AAA2-E438E57EEA78}" type="sibTrans" cxnId="{88DF5648-B4A0-6A4D-9A86-D25013CB570C}">
      <dgm:prSet/>
      <dgm:spPr/>
      <dgm:t>
        <a:bodyPr/>
        <a:lstStyle/>
        <a:p>
          <a:endParaRPr lang="en-US"/>
        </a:p>
      </dgm:t>
    </dgm:pt>
    <dgm:pt modelId="{29E7AEF2-7572-2449-8E8F-E2E730FEAA5C}">
      <dgm:prSet/>
      <dgm:spPr/>
      <dgm:t>
        <a:bodyPr/>
        <a:lstStyle/>
        <a:p>
          <a:pPr rtl="0"/>
          <a:r>
            <a:rPr lang="en-US" b="1" dirty="0"/>
            <a:t>Monitor &amp; feedback</a:t>
          </a:r>
          <a:endParaRPr lang="en-US" dirty="0"/>
        </a:p>
      </dgm:t>
    </dgm:pt>
    <dgm:pt modelId="{C0B98801-F351-C24C-B360-77639A211ED5}" type="parTrans" cxnId="{EDBBA2D1-00A0-3B49-ABCC-94CCC2831FB3}">
      <dgm:prSet/>
      <dgm:spPr/>
      <dgm:t>
        <a:bodyPr/>
        <a:lstStyle/>
        <a:p>
          <a:endParaRPr lang="en-US"/>
        </a:p>
      </dgm:t>
    </dgm:pt>
    <dgm:pt modelId="{4EEA621A-A655-A844-86A8-A4096425B3E0}" type="sibTrans" cxnId="{EDBBA2D1-00A0-3B49-ABCC-94CCC2831FB3}">
      <dgm:prSet/>
      <dgm:spPr/>
      <dgm:t>
        <a:bodyPr/>
        <a:lstStyle/>
        <a:p>
          <a:endParaRPr lang="en-US"/>
        </a:p>
      </dgm:t>
    </dgm:pt>
    <dgm:pt modelId="{DB0F56C2-1F52-3446-B566-D5CBEF75069C}">
      <dgm:prSet/>
      <dgm:spPr/>
      <dgm:t>
        <a:bodyPr/>
        <a:lstStyle/>
        <a:p>
          <a:pPr rtl="0"/>
          <a:r>
            <a:rPr lang="en-US" b="1" dirty="0"/>
            <a:t>Tune</a:t>
          </a:r>
        </a:p>
      </dgm:t>
    </dgm:pt>
    <dgm:pt modelId="{72765E9D-3116-AC45-A20D-3EAEFF15EAD0}" type="parTrans" cxnId="{4F04A14A-39B2-1049-8579-FDD89CF0D8A1}">
      <dgm:prSet/>
      <dgm:spPr/>
      <dgm:t>
        <a:bodyPr/>
        <a:lstStyle/>
        <a:p>
          <a:endParaRPr lang="en-US"/>
        </a:p>
      </dgm:t>
    </dgm:pt>
    <dgm:pt modelId="{37CF5AC2-0EFB-AC4E-AE70-98BB9203003F}" type="sibTrans" cxnId="{4F04A14A-39B2-1049-8579-FDD89CF0D8A1}">
      <dgm:prSet/>
      <dgm:spPr/>
      <dgm:t>
        <a:bodyPr/>
        <a:lstStyle/>
        <a:p>
          <a:endParaRPr lang="en-US"/>
        </a:p>
      </dgm:t>
    </dgm:pt>
    <dgm:pt modelId="{41CB318D-CDA7-4A4E-9E5A-264A599CDE76}" type="pres">
      <dgm:prSet presAssocID="{7E614A8F-B8F6-A348-AA5E-AF6B922CDD5E}" presName="cycle" presStyleCnt="0">
        <dgm:presLayoutVars>
          <dgm:dir/>
          <dgm:resizeHandles val="exact"/>
        </dgm:presLayoutVars>
      </dgm:prSet>
      <dgm:spPr/>
    </dgm:pt>
    <dgm:pt modelId="{1F5B8AEA-996F-6349-BAFD-FAEAB42AD900}" type="pres">
      <dgm:prSet presAssocID="{3780D8F2-BC04-7748-A1D4-BF5996D54538}" presName="dummy" presStyleCnt="0"/>
      <dgm:spPr/>
    </dgm:pt>
    <dgm:pt modelId="{8AAC09EE-0AA2-8349-BB68-3F49C419B394}" type="pres">
      <dgm:prSet presAssocID="{3780D8F2-BC04-7748-A1D4-BF5996D54538}" presName="node" presStyleLbl="revTx" presStyleIdx="0" presStyleCnt="5">
        <dgm:presLayoutVars>
          <dgm:bulletEnabled val="1"/>
        </dgm:presLayoutVars>
      </dgm:prSet>
      <dgm:spPr/>
    </dgm:pt>
    <dgm:pt modelId="{C7A686BF-969F-D84A-98CF-EEC41643927C}" type="pres">
      <dgm:prSet presAssocID="{81712147-8ED8-3C44-805D-8DCE6DC5ECA9}" presName="sibTrans" presStyleLbl="node1" presStyleIdx="0" presStyleCnt="5"/>
      <dgm:spPr/>
    </dgm:pt>
    <dgm:pt modelId="{AF03CB28-19C0-E444-8A4A-A54AA9F8C8D9}" type="pres">
      <dgm:prSet presAssocID="{4FA35D2E-AD33-B14A-954C-8D2E8AB468CC}" presName="dummy" presStyleCnt="0"/>
      <dgm:spPr/>
    </dgm:pt>
    <dgm:pt modelId="{C2E27F3B-E02C-EB46-BE7B-7D8037EE949A}" type="pres">
      <dgm:prSet presAssocID="{4FA35D2E-AD33-B14A-954C-8D2E8AB468CC}" presName="node" presStyleLbl="revTx" presStyleIdx="1" presStyleCnt="5">
        <dgm:presLayoutVars>
          <dgm:bulletEnabled val="1"/>
        </dgm:presLayoutVars>
      </dgm:prSet>
      <dgm:spPr/>
    </dgm:pt>
    <dgm:pt modelId="{55321DC4-D959-3448-BAD4-7BF9C8EEBC58}" type="pres">
      <dgm:prSet presAssocID="{BBF08B31-3AD1-204E-A415-9F54F3AA70A1}" presName="sibTrans" presStyleLbl="node1" presStyleIdx="1" presStyleCnt="5"/>
      <dgm:spPr/>
    </dgm:pt>
    <dgm:pt modelId="{66251D92-4835-8141-A0EA-0520EA16CD5C}" type="pres">
      <dgm:prSet presAssocID="{11710E27-AF78-6446-85DF-7C89D974625D}" presName="dummy" presStyleCnt="0"/>
      <dgm:spPr/>
    </dgm:pt>
    <dgm:pt modelId="{F6BA9A1D-6BF4-9847-B4C4-C9E84E8E6578}" type="pres">
      <dgm:prSet presAssocID="{11710E27-AF78-6446-85DF-7C89D974625D}" presName="node" presStyleLbl="revTx" presStyleIdx="2" presStyleCnt="5">
        <dgm:presLayoutVars>
          <dgm:bulletEnabled val="1"/>
        </dgm:presLayoutVars>
      </dgm:prSet>
      <dgm:spPr/>
    </dgm:pt>
    <dgm:pt modelId="{F1083FAF-2DAD-5348-9DEB-99EB66042414}" type="pres">
      <dgm:prSet presAssocID="{2CE6508C-F882-464C-AAA2-E438E57EEA78}" presName="sibTrans" presStyleLbl="node1" presStyleIdx="2" presStyleCnt="5"/>
      <dgm:spPr/>
    </dgm:pt>
    <dgm:pt modelId="{A5422535-B6BE-364D-88C9-BBACBAA68364}" type="pres">
      <dgm:prSet presAssocID="{29E7AEF2-7572-2449-8E8F-E2E730FEAA5C}" presName="dummy" presStyleCnt="0"/>
      <dgm:spPr/>
    </dgm:pt>
    <dgm:pt modelId="{B1F2B3AD-23D2-7E4A-9FB7-7D9F03076534}" type="pres">
      <dgm:prSet presAssocID="{29E7AEF2-7572-2449-8E8F-E2E730FEAA5C}" presName="node" presStyleLbl="revTx" presStyleIdx="3" presStyleCnt="5">
        <dgm:presLayoutVars>
          <dgm:bulletEnabled val="1"/>
        </dgm:presLayoutVars>
      </dgm:prSet>
      <dgm:spPr/>
    </dgm:pt>
    <dgm:pt modelId="{B3B22546-B808-6044-854E-F4B6FD495970}" type="pres">
      <dgm:prSet presAssocID="{4EEA621A-A655-A844-86A8-A4096425B3E0}" presName="sibTrans" presStyleLbl="node1" presStyleIdx="3" presStyleCnt="5"/>
      <dgm:spPr/>
    </dgm:pt>
    <dgm:pt modelId="{D8DBCFA4-8C2F-3448-B7E5-2E9C920E4452}" type="pres">
      <dgm:prSet presAssocID="{DB0F56C2-1F52-3446-B566-D5CBEF75069C}" presName="dummy" presStyleCnt="0"/>
      <dgm:spPr/>
    </dgm:pt>
    <dgm:pt modelId="{A95275CB-5908-244D-B1D0-02E2B1FDB1FA}" type="pres">
      <dgm:prSet presAssocID="{DB0F56C2-1F52-3446-B566-D5CBEF75069C}" presName="node" presStyleLbl="revTx" presStyleIdx="4" presStyleCnt="5">
        <dgm:presLayoutVars>
          <dgm:bulletEnabled val="1"/>
        </dgm:presLayoutVars>
      </dgm:prSet>
      <dgm:spPr/>
    </dgm:pt>
    <dgm:pt modelId="{6791CA34-E088-7240-9BF3-FC491CBDCE54}" type="pres">
      <dgm:prSet presAssocID="{37CF5AC2-0EFB-AC4E-AE70-98BB9203003F}" presName="sibTrans" presStyleLbl="node1" presStyleIdx="4" presStyleCnt="5"/>
      <dgm:spPr/>
    </dgm:pt>
  </dgm:ptLst>
  <dgm:cxnLst>
    <dgm:cxn modelId="{C49CA613-DB09-754C-8CFC-95FA547CB60C}" type="presOf" srcId="{BBF08B31-3AD1-204E-A415-9F54F3AA70A1}" destId="{55321DC4-D959-3448-BAD4-7BF9C8EEBC58}" srcOrd="0" destOrd="0" presId="urn:microsoft.com/office/officeart/2005/8/layout/cycle1"/>
    <dgm:cxn modelId="{1CC33F22-E3C0-E24B-A086-A4AE4B8A9F16}" type="presOf" srcId="{29E7AEF2-7572-2449-8E8F-E2E730FEAA5C}" destId="{B1F2B3AD-23D2-7E4A-9FB7-7D9F03076534}" srcOrd="0" destOrd="0" presId="urn:microsoft.com/office/officeart/2005/8/layout/cycle1"/>
    <dgm:cxn modelId="{9B4F143A-D786-334D-ABE4-6CC6D5D3C099}" type="presOf" srcId="{11710E27-AF78-6446-85DF-7C89D974625D}" destId="{F6BA9A1D-6BF4-9847-B4C4-C9E84E8E6578}" srcOrd="0" destOrd="0" presId="urn:microsoft.com/office/officeart/2005/8/layout/cycle1"/>
    <dgm:cxn modelId="{83916446-29A2-444C-B5EF-D759992BC723}" type="presOf" srcId="{3780D8F2-BC04-7748-A1D4-BF5996D54538}" destId="{8AAC09EE-0AA2-8349-BB68-3F49C419B394}" srcOrd="0" destOrd="0" presId="urn:microsoft.com/office/officeart/2005/8/layout/cycle1"/>
    <dgm:cxn modelId="{88DF5648-B4A0-6A4D-9A86-D25013CB570C}" srcId="{7E614A8F-B8F6-A348-AA5E-AF6B922CDD5E}" destId="{11710E27-AF78-6446-85DF-7C89D974625D}" srcOrd="2" destOrd="0" parTransId="{FD50309E-30AD-B04A-A89C-1D50CA1DC638}" sibTransId="{2CE6508C-F882-464C-AAA2-E438E57EEA78}"/>
    <dgm:cxn modelId="{4F04A14A-39B2-1049-8579-FDD89CF0D8A1}" srcId="{7E614A8F-B8F6-A348-AA5E-AF6B922CDD5E}" destId="{DB0F56C2-1F52-3446-B566-D5CBEF75069C}" srcOrd="4" destOrd="0" parTransId="{72765E9D-3116-AC45-A20D-3EAEFF15EAD0}" sibTransId="{37CF5AC2-0EFB-AC4E-AE70-98BB9203003F}"/>
    <dgm:cxn modelId="{9129975F-56A4-B048-9506-F88052FF48D2}" type="presOf" srcId="{37CF5AC2-0EFB-AC4E-AE70-98BB9203003F}" destId="{6791CA34-E088-7240-9BF3-FC491CBDCE54}" srcOrd="0" destOrd="0" presId="urn:microsoft.com/office/officeart/2005/8/layout/cycle1"/>
    <dgm:cxn modelId="{8FD54A74-31E9-C346-8119-FC9EFB7C9A5B}" type="presOf" srcId="{DB0F56C2-1F52-3446-B566-D5CBEF75069C}" destId="{A95275CB-5908-244D-B1D0-02E2B1FDB1FA}" srcOrd="0" destOrd="0" presId="urn:microsoft.com/office/officeart/2005/8/layout/cycle1"/>
    <dgm:cxn modelId="{93A35E75-CF5E-9E48-B96F-C28FC0603C0C}" type="presOf" srcId="{7E614A8F-B8F6-A348-AA5E-AF6B922CDD5E}" destId="{41CB318D-CDA7-4A4E-9E5A-264A599CDE76}" srcOrd="0" destOrd="0" presId="urn:microsoft.com/office/officeart/2005/8/layout/cycle1"/>
    <dgm:cxn modelId="{57C69977-DAC3-624D-89AE-38243BDD3A8C}" srcId="{7E614A8F-B8F6-A348-AA5E-AF6B922CDD5E}" destId="{4FA35D2E-AD33-B14A-954C-8D2E8AB468CC}" srcOrd="1" destOrd="0" parTransId="{CE1CEAFB-1EF6-0740-B7BD-7E73D2A100BB}" sibTransId="{BBF08B31-3AD1-204E-A415-9F54F3AA70A1}"/>
    <dgm:cxn modelId="{9BCAC093-3458-B44E-8D29-E92C731FE793}" type="presOf" srcId="{2CE6508C-F882-464C-AAA2-E438E57EEA78}" destId="{F1083FAF-2DAD-5348-9DEB-99EB66042414}" srcOrd="0" destOrd="0" presId="urn:microsoft.com/office/officeart/2005/8/layout/cycle1"/>
    <dgm:cxn modelId="{9A32449C-EF1C-2148-B6CC-C8CC4B5778AE}" type="presOf" srcId="{4EEA621A-A655-A844-86A8-A4096425B3E0}" destId="{B3B22546-B808-6044-854E-F4B6FD495970}" srcOrd="0" destOrd="0" presId="urn:microsoft.com/office/officeart/2005/8/layout/cycle1"/>
    <dgm:cxn modelId="{BC0C1FAA-1491-AB49-ABBE-051319DA9328}" srcId="{7E614A8F-B8F6-A348-AA5E-AF6B922CDD5E}" destId="{3780D8F2-BC04-7748-A1D4-BF5996D54538}" srcOrd="0" destOrd="0" parTransId="{0A4C6137-11F9-9241-A1FE-77DE24E39A78}" sibTransId="{81712147-8ED8-3C44-805D-8DCE6DC5ECA9}"/>
    <dgm:cxn modelId="{A40F2DB9-876A-2345-A483-B92B193FDB11}" type="presOf" srcId="{4FA35D2E-AD33-B14A-954C-8D2E8AB468CC}" destId="{C2E27F3B-E02C-EB46-BE7B-7D8037EE949A}" srcOrd="0" destOrd="0" presId="urn:microsoft.com/office/officeart/2005/8/layout/cycle1"/>
    <dgm:cxn modelId="{EDBBA2D1-00A0-3B49-ABCC-94CCC2831FB3}" srcId="{7E614A8F-B8F6-A348-AA5E-AF6B922CDD5E}" destId="{29E7AEF2-7572-2449-8E8F-E2E730FEAA5C}" srcOrd="3" destOrd="0" parTransId="{C0B98801-F351-C24C-B360-77639A211ED5}" sibTransId="{4EEA621A-A655-A844-86A8-A4096425B3E0}"/>
    <dgm:cxn modelId="{7F5D8AE6-54DB-EE4B-95BF-571A90A057D0}" type="presOf" srcId="{81712147-8ED8-3C44-805D-8DCE6DC5ECA9}" destId="{C7A686BF-969F-D84A-98CF-EEC41643927C}" srcOrd="0" destOrd="0" presId="urn:microsoft.com/office/officeart/2005/8/layout/cycle1"/>
    <dgm:cxn modelId="{8D1FDBA7-9FC8-0047-BC94-5ECB3B8BEA98}" type="presParOf" srcId="{41CB318D-CDA7-4A4E-9E5A-264A599CDE76}" destId="{1F5B8AEA-996F-6349-BAFD-FAEAB42AD900}" srcOrd="0" destOrd="0" presId="urn:microsoft.com/office/officeart/2005/8/layout/cycle1"/>
    <dgm:cxn modelId="{CAD46969-FF41-A047-BA31-3BEED4C5C35D}" type="presParOf" srcId="{41CB318D-CDA7-4A4E-9E5A-264A599CDE76}" destId="{8AAC09EE-0AA2-8349-BB68-3F49C419B394}" srcOrd="1" destOrd="0" presId="urn:microsoft.com/office/officeart/2005/8/layout/cycle1"/>
    <dgm:cxn modelId="{B6913670-01C6-CF44-8850-FC71E9B78903}" type="presParOf" srcId="{41CB318D-CDA7-4A4E-9E5A-264A599CDE76}" destId="{C7A686BF-969F-D84A-98CF-EEC41643927C}" srcOrd="2" destOrd="0" presId="urn:microsoft.com/office/officeart/2005/8/layout/cycle1"/>
    <dgm:cxn modelId="{A5AB4E6B-0C7E-214B-B691-D3BA0B9873EF}" type="presParOf" srcId="{41CB318D-CDA7-4A4E-9E5A-264A599CDE76}" destId="{AF03CB28-19C0-E444-8A4A-A54AA9F8C8D9}" srcOrd="3" destOrd="0" presId="urn:microsoft.com/office/officeart/2005/8/layout/cycle1"/>
    <dgm:cxn modelId="{1AB6B679-A1FA-A844-86DF-15C379B7E811}" type="presParOf" srcId="{41CB318D-CDA7-4A4E-9E5A-264A599CDE76}" destId="{C2E27F3B-E02C-EB46-BE7B-7D8037EE949A}" srcOrd="4" destOrd="0" presId="urn:microsoft.com/office/officeart/2005/8/layout/cycle1"/>
    <dgm:cxn modelId="{AFED60D8-3F53-9E42-BCE1-0443708A2B90}" type="presParOf" srcId="{41CB318D-CDA7-4A4E-9E5A-264A599CDE76}" destId="{55321DC4-D959-3448-BAD4-7BF9C8EEBC58}" srcOrd="5" destOrd="0" presId="urn:microsoft.com/office/officeart/2005/8/layout/cycle1"/>
    <dgm:cxn modelId="{59938970-C85A-2E4C-9791-01F3EF496FC3}" type="presParOf" srcId="{41CB318D-CDA7-4A4E-9E5A-264A599CDE76}" destId="{66251D92-4835-8141-A0EA-0520EA16CD5C}" srcOrd="6" destOrd="0" presId="urn:microsoft.com/office/officeart/2005/8/layout/cycle1"/>
    <dgm:cxn modelId="{5B2B0BC7-B12D-1B43-9B94-8F7CA9AA406B}" type="presParOf" srcId="{41CB318D-CDA7-4A4E-9E5A-264A599CDE76}" destId="{F6BA9A1D-6BF4-9847-B4C4-C9E84E8E6578}" srcOrd="7" destOrd="0" presId="urn:microsoft.com/office/officeart/2005/8/layout/cycle1"/>
    <dgm:cxn modelId="{177C7867-7390-2545-881D-83CA7746CCB0}" type="presParOf" srcId="{41CB318D-CDA7-4A4E-9E5A-264A599CDE76}" destId="{F1083FAF-2DAD-5348-9DEB-99EB66042414}" srcOrd="8" destOrd="0" presId="urn:microsoft.com/office/officeart/2005/8/layout/cycle1"/>
    <dgm:cxn modelId="{C204FE19-EB05-7C4B-B2C0-426E1CDD85CE}" type="presParOf" srcId="{41CB318D-CDA7-4A4E-9E5A-264A599CDE76}" destId="{A5422535-B6BE-364D-88C9-BBACBAA68364}" srcOrd="9" destOrd="0" presId="urn:microsoft.com/office/officeart/2005/8/layout/cycle1"/>
    <dgm:cxn modelId="{2AB5B834-FB5D-F742-B57B-EA5900444728}" type="presParOf" srcId="{41CB318D-CDA7-4A4E-9E5A-264A599CDE76}" destId="{B1F2B3AD-23D2-7E4A-9FB7-7D9F03076534}" srcOrd="10" destOrd="0" presId="urn:microsoft.com/office/officeart/2005/8/layout/cycle1"/>
    <dgm:cxn modelId="{6C232BEF-46D5-EA4B-9FA4-E4C09FEA84AF}" type="presParOf" srcId="{41CB318D-CDA7-4A4E-9E5A-264A599CDE76}" destId="{B3B22546-B808-6044-854E-F4B6FD495970}" srcOrd="11" destOrd="0" presId="urn:microsoft.com/office/officeart/2005/8/layout/cycle1"/>
    <dgm:cxn modelId="{742090B9-DEA2-6543-8D98-AC9E3D2C41BF}" type="presParOf" srcId="{41CB318D-CDA7-4A4E-9E5A-264A599CDE76}" destId="{D8DBCFA4-8C2F-3448-B7E5-2E9C920E4452}" srcOrd="12" destOrd="0" presId="urn:microsoft.com/office/officeart/2005/8/layout/cycle1"/>
    <dgm:cxn modelId="{07F2804B-B441-3B47-B0EC-B01FF1C07EAC}" type="presParOf" srcId="{41CB318D-CDA7-4A4E-9E5A-264A599CDE76}" destId="{A95275CB-5908-244D-B1D0-02E2B1FDB1FA}" srcOrd="13" destOrd="0" presId="urn:microsoft.com/office/officeart/2005/8/layout/cycle1"/>
    <dgm:cxn modelId="{DA7C2EDE-79F8-DA43-A01C-FA29DCE9A29E}" type="presParOf" srcId="{41CB318D-CDA7-4A4E-9E5A-264A599CDE76}" destId="{6791CA34-E088-7240-9BF3-FC491CBDCE54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CF2D4B8-0FEC-C044-9F54-DBBD9A9948B1}" type="doc">
      <dgm:prSet loTypeId="urn:microsoft.com/office/officeart/2005/8/layout/cycle8" loCatId="relationship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95268C9-C443-8741-8E85-D149E19A14C2}">
      <dgm:prSet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 rtl="0"/>
          <a:r>
            <a:rPr lang="en-US" b="1" dirty="0">
              <a:solidFill>
                <a:schemeClr val="tx2"/>
              </a:solidFill>
            </a:rPr>
            <a:t>Extra Features</a:t>
          </a:r>
        </a:p>
      </dgm:t>
    </dgm:pt>
    <dgm:pt modelId="{72547D02-C6AC-6A4A-A840-6712C335A2EC}" type="parTrans" cxnId="{1D69315D-F0A3-7B4F-968D-514169BC4166}">
      <dgm:prSet/>
      <dgm:spPr/>
      <dgm:t>
        <a:bodyPr/>
        <a:lstStyle/>
        <a:p>
          <a:endParaRPr lang="en-US"/>
        </a:p>
      </dgm:t>
    </dgm:pt>
    <dgm:pt modelId="{41547CCC-7069-A24F-96C6-5B36AE190DBD}" type="sibTrans" cxnId="{1D69315D-F0A3-7B4F-968D-514169BC4166}">
      <dgm:prSet/>
      <dgm:spPr/>
      <dgm:t>
        <a:bodyPr/>
        <a:lstStyle/>
        <a:p>
          <a:endParaRPr lang="en-US"/>
        </a:p>
      </dgm:t>
    </dgm:pt>
    <dgm:pt modelId="{821F89A3-CCD3-734E-A0D5-8E9451815806}">
      <dgm:prSet/>
      <dgm:spPr/>
      <dgm:t>
        <a:bodyPr/>
        <a:lstStyle/>
        <a:p>
          <a:pPr rtl="0"/>
          <a:r>
            <a:rPr lang="en-US"/>
            <a:t>Relearning</a:t>
          </a:r>
        </a:p>
      </dgm:t>
    </dgm:pt>
    <dgm:pt modelId="{624205A5-9531-5D42-AEA0-6C4C80887351}" type="parTrans" cxnId="{B95ADE3B-31D4-EA40-8AC6-5BAECF13888E}">
      <dgm:prSet/>
      <dgm:spPr/>
      <dgm:t>
        <a:bodyPr/>
        <a:lstStyle/>
        <a:p>
          <a:endParaRPr lang="en-US"/>
        </a:p>
      </dgm:t>
    </dgm:pt>
    <dgm:pt modelId="{75381300-051E-F540-B761-880627CB3C0C}" type="sibTrans" cxnId="{B95ADE3B-31D4-EA40-8AC6-5BAECF13888E}">
      <dgm:prSet/>
      <dgm:spPr/>
      <dgm:t>
        <a:bodyPr/>
        <a:lstStyle/>
        <a:p>
          <a:endParaRPr lang="en-US"/>
        </a:p>
      </dgm:t>
    </dgm:pt>
    <dgm:pt modelId="{04023A33-2326-434F-8279-1AB63FAC9C64}">
      <dgm:prSet/>
      <dgm:spPr/>
      <dgm:t>
        <a:bodyPr/>
        <a:lstStyle/>
        <a:p>
          <a:pPr rtl="0"/>
          <a:r>
            <a:rPr lang="en-US"/>
            <a:t>Handoffs</a:t>
          </a:r>
        </a:p>
      </dgm:t>
    </dgm:pt>
    <dgm:pt modelId="{471C35BC-CC08-894B-B4C7-99427B31E9B5}" type="parTrans" cxnId="{99CAA3D6-AD98-3C40-8148-35BC9AC084DF}">
      <dgm:prSet/>
      <dgm:spPr/>
      <dgm:t>
        <a:bodyPr/>
        <a:lstStyle/>
        <a:p>
          <a:endParaRPr lang="en-US"/>
        </a:p>
      </dgm:t>
    </dgm:pt>
    <dgm:pt modelId="{0A5AAFB1-0845-8D4B-AE40-6A2276C3CAF3}" type="sibTrans" cxnId="{99CAA3D6-AD98-3C40-8148-35BC9AC084DF}">
      <dgm:prSet/>
      <dgm:spPr/>
      <dgm:t>
        <a:bodyPr/>
        <a:lstStyle/>
        <a:p>
          <a:endParaRPr lang="en-US"/>
        </a:p>
      </dgm:t>
    </dgm:pt>
    <dgm:pt modelId="{B6EAEFFB-82F8-7441-A798-9E4507E99487}">
      <dgm:prSet/>
      <dgm:spPr/>
      <dgm:t>
        <a:bodyPr/>
        <a:lstStyle/>
        <a:p>
          <a:pPr rtl="0"/>
          <a:r>
            <a:rPr lang="en-US"/>
            <a:t>Delays</a:t>
          </a:r>
        </a:p>
      </dgm:t>
    </dgm:pt>
    <dgm:pt modelId="{2104B081-CBA9-B34C-B154-892BE4704CDD}" type="parTrans" cxnId="{CE4489DD-8B7C-E445-B606-9548BD039810}">
      <dgm:prSet/>
      <dgm:spPr/>
      <dgm:t>
        <a:bodyPr/>
        <a:lstStyle/>
        <a:p>
          <a:endParaRPr lang="en-US"/>
        </a:p>
      </dgm:t>
    </dgm:pt>
    <dgm:pt modelId="{419CF68E-ECE5-864D-92D0-D772F2DD982F}" type="sibTrans" cxnId="{CE4489DD-8B7C-E445-B606-9548BD039810}">
      <dgm:prSet/>
      <dgm:spPr/>
      <dgm:t>
        <a:bodyPr/>
        <a:lstStyle/>
        <a:p>
          <a:endParaRPr lang="en-US"/>
        </a:p>
      </dgm:t>
    </dgm:pt>
    <dgm:pt modelId="{1199DAA1-5476-D44B-B8CC-A9988726FE96}">
      <dgm:prSet/>
      <dgm:spPr/>
      <dgm:t>
        <a:bodyPr/>
        <a:lstStyle/>
        <a:p>
          <a:pPr rtl="0"/>
          <a:r>
            <a:rPr lang="en-US"/>
            <a:t>Task Switching</a:t>
          </a:r>
        </a:p>
      </dgm:t>
    </dgm:pt>
    <dgm:pt modelId="{BFE43362-3B62-314F-89FF-0CCC5E7C1681}" type="parTrans" cxnId="{DCC33EC7-8760-5E4D-B987-73CDD21E9CBE}">
      <dgm:prSet/>
      <dgm:spPr/>
      <dgm:t>
        <a:bodyPr/>
        <a:lstStyle/>
        <a:p>
          <a:endParaRPr lang="en-US"/>
        </a:p>
      </dgm:t>
    </dgm:pt>
    <dgm:pt modelId="{9731113A-3535-2943-8D85-918B732336D0}" type="sibTrans" cxnId="{DCC33EC7-8760-5E4D-B987-73CDD21E9CBE}">
      <dgm:prSet/>
      <dgm:spPr/>
      <dgm:t>
        <a:bodyPr/>
        <a:lstStyle/>
        <a:p>
          <a:endParaRPr lang="en-US"/>
        </a:p>
      </dgm:t>
    </dgm:pt>
    <dgm:pt modelId="{25D0FF01-8F65-3147-925B-7C706B75E64E}">
      <dgm:prSet/>
      <dgm:spPr/>
      <dgm:t>
        <a:bodyPr/>
        <a:lstStyle/>
        <a:p>
          <a:pPr rtl="0"/>
          <a:r>
            <a:rPr lang="en-US" dirty="0"/>
            <a:t>Defects</a:t>
          </a:r>
        </a:p>
      </dgm:t>
    </dgm:pt>
    <dgm:pt modelId="{B48C3A7F-97C0-2743-9B2D-F4CEE6443EC4}" type="parTrans" cxnId="{A1FCA7ED-16FB-214A-B2A6-C78A24614820}">
      <dgm:prSet/>
      <dgm:spPr/>
      <dgm:t>
        <a:bodyPr/>
        <a:lstStyle/>
        <a:p>
          <a:endParaRPr lang="en-US"/>
        </a:p>
      </dgm:t>
    </dgm:pt>
    <dgm:pt modelId="{5804ADD9-E5AF-D145-AD3D-1CB4E29ED8CD}" type="sibTrans" cxnId="{A1FCA7ED-16FB-214A-B2A6-C78A24614820}">
      <dgm:prSet/>
      <dgm:spPr/>
      <dgm:t>
        <a:bodyPr/>
        <a:lstStyle/>
        <a:p>
          <a:endParaRPr lang="en-US"/>
        </a:p>
      </dgm:t>
    </dgm:pt>
    <dgm:pt modelId="{8DA92F85-F979-D14C-9FD2-51E50DFC4559}">
      <dgm:prSet/>
      <dgm:spPr/>
      <dgm:t>
        <a:bodyPr/>
        <a:lstStyle/>
        <a:p>
          <a:pPr rtl="0"/>
          <a:r>
            <a:rPr lang="en-US" dirty="0"/>
            <a:t>Partially done work</a:t>
          </a:r>
        </a:p>
      </dgm:t>
    </dgm:pt>
    <dgm:pt modelId="{B3AE1ED2-F403-ED46-870F-8DA4AE2EF7FA}" type="parTrans" cxnId="{749A7B7C-D2C5-F142-8C70-897CE9985A35}">
      <dgm:prSet/>
      <dgm:spPr/>
      <dgm:t>
        <a:bodyPr/>
        <a:lstStyle/>
        <a:p>
          <a:endParaRPr lang="en-US"/>
        </a:p>
      </dgm:t>
    </dgm:pt>
    <dgm:pt modelId="{110DCB62-4DAD-B343-A3ED-C2DB24864FD6}" type="sibTrans" cxnId="{749A7B7C-D2C5-F142-8C70-897CE9985A35}">
      <dgm:prSet/>
      <dgm:spPr/>
      <dgm:t>
        <a:bodyPr/>
        <a:lstStyle/>
        <a:p>
          <a:endParaRPr lang="en-US"/>
        </a:p>
      </dgm:t>
    </dgm:pt>
    <dgm:pt modelId="{D67EA781-A79D-9648-B1BA-ACC2F49F6D7B}" type="pres">
      <dgm:prSet presAssocID="{0CF2D4B8-0FEC-C044-9F54-DBBD9A9948B1}" presName="compositeShape" presStyleCnt="0">
        <dgm:presLayoutVars>
          <dgm:chMax val="7"/>
          <dgm:dir/>
          <dgm:resizeHandles val="exact"/>
        </dgm:presLayoutVars>
      </dgm:prSet>
      <dgm:spPr/>
    </dgm:pt>
    <dgm:pt modelId="{1F264DEB-BF6A-E54F-BEF0-A3464954570E}" type="pres">
      <dgm:prSet presAssocID="{0CF2D4B8-0FEC-C044-9F54-DBBD9A9948B1}" presName="wedge1" presStyleLbl="node1" presStyleIdx="0" presStyleCnt="7"/>
      <dgm:spPr/>
    </dgm:pt>
    <dgm:pt modelId="{638AEA78-3D13-4247-9C7A-AAF3B5449004}" type="pres">
      <dgm:prSet presAssocID="{0CF2D4B8-0FEC-C044-9F54-DBBD9A9948B1}" presName="dummy1a" presStyleCnt="0"/>
      <dgm:spPr/>
    </dgm:pt>
    <dgm:pt modelId="{B1B698D5-CAFE-364F-84A3-BE56376E9632}" type="pres">
      <dgm:prSet presAssocID="{0CF2D4B8-0FEC-C044-9F54-DBBD9A9948B1}" presName="dummy1b" presStyleCnt="0"/>
      <dgm:spPr/>
    </dgm:pt>
    <dgm:pt modelId="{F8C35A02-0967-C74B-87E1-F4E0D21121A5}" type="pres">
      <dgm:prSet presAssocID="{0CF2D4B8-0FEC-C044-9F54-DBBD9A9948B1}" presName="wedge1Tx" presStyleLbl="node1" presStyleIdx="0" presStyleCnt="7">
        <dgm:presLayoutVars>
          <dgm:chMax val="0"/>
          <dgm:chPref val="0"/>
          <dgm:bulletEnabled val="1"/>
        </dgm:presLayoutVars>
      </dgm:prSet>
      <dgm:spPr/>
    </dgm:pt>
    <dgm:pt modelId="{BDE5AD4E-B09C-DA43-8F30-95469A7C71C4}" type="pres">
      <dgm:prSet presAssocID="{0CF2D4B8-0FEC-C044-9F54-DBBD9A9948B1}" presName="wedge2" presStyleLbl="node1" presStyleIdx="1" presStyleCnt="7"/>
      <dgm:spPr/>
    </dgm:pt>
    <dgm:pt modelId="{F728A7DE-00E2-AA42-9EEF-41FCDC67AB37}" type="pres">
      <dgm:prSet presAssocID="{0CF2D4B8-0FEC-C044-9F54-DBBD9A9948B1}" presName="dummy2a" presStyleCnt="0"/>
      <dgm:spPr/>
    </dgm:pt>
    <dgm:pt modelId="{C4E04F35-0F13-C54D-8E2F-9D6EB3F7421F}" type="pres">
      <dgm:prSet presAssocID="{0CF2D4B8-0FEC-C044-9F54-DBBD9A9948B1}" presName="dummy2b" presStyleCnt="0"/>
      <dgm:spPr/>
    </dgm:pt>
    <dgm:pt modelId="{438A99F5-4273-054B-973B-3ECEC38D9730}" type="pres">
      <dgm:prSet presAssocID="{0CF2D4B8-0FEC-C044-9F54-DBBD9A9948B1}" presName="wedge2Tx" presStyleLbl="node1" presStyleIdx="1" presStyleCnt="7">
        <dgm:presLayoutVars>
          <dgm:chMax val="0"/>
          <dgm:chPref val="0"/>
          <dgm:bulletEnabled val="1"/>
        </dgm:presLayoutVars>
      </dgm:prSet>
      <dgm:spPr/>
    </dgm:pt>
    <dgm:pt modelId="{06D17E4E-03DC-EB45-B9D1-87E3FBAF272B}" type="pres">
      <dgm:prSet presAssocID="{0CF2D4B8-0FEC-C044-9F54-DBBD9A9948B1}" presName="wedge3" presStyleLbl="node1" presStyleIdx="2" presStyleCnt="7"/>
      <dgm:spPr/>
    </dgm:pt>
    <dgm:pt modelId="{760C49EA-AB2C-2248-8BC3-D3CEB1C2B943}" type="pres">
      <dgm:prSet presAssocID="{0CF2D4B8-0FEC-C044-9F54-DBBD9A9948B1}" presName="dummy3a" presStyleCnt="0"/>
      <dgm:spPr/>
    </dgm:pt>
    <dgm:pt modelId="{4DF4E5C4-642C-DC4A-9394-F99293E00BA8}" type="pres">
      <dgm:prSet presAssocID="{0CF2D4B8-0FEC-C044-9F54-DBBD9A9948B1}" presName="dummy3b" presStyleCnt="0"/>
      <dgm:spPr/>
    </dgm:pt>
    <dgm:pt modelId="{15F1FA69-9740-4245-9A34-E00C505B1F73}" type="pres">
      <dgm:prSet presAssocID="{0CF2D4B8-0FEC-C044-9F54-DBBD9A9948B1}" presName="wedge3Tx" presStyleLbl="node1" presStyleIdx="2" presStyleCnt="7">
        <dgm:presLayoutVars>
          <dgm:chMax val="0"/>
          <dgm:chPref val="0"/>
          <dgm:bulletEnabled val="1"/>
        </dgm:presLayoutVars>
      </dgm:prSet>
      <dgm:spPr/>
    </dgm:pt>
    <dgm:pt modelId="{6CD63930-3E0A-8D48-AF9C-B997296EB218}" type="pres">
      <dgm:prSet presAssocID="{0CF2D4B8-0FEC-C044-9F54-DBBD9A9948B1}" presName="wedge4" presStyleLbl="node1" presStyleIdx="3" presStyleCnt="7"/>
      <dgm:spPr/>
    </dgm:pt>
    <dgm:pt modelId="{794E6E60-D52C-D647-984C-66A24E038599}" type="pres">
      <dgm:prSet presAssocID="{0CF2D4B8-0FEC-C044-9F54-DBBD9A9948B1}" presName="dummy4a" presStyleCnt="0"/>
      <dgm:spPr/>
    </dgm:pt>
    <dgm:pt modelId="{A8409A83-CA22-B34A-81A5-20502A316E0F}" type="pres">
      <dgm:prSet presAssocID="{0CF2D4B8-0FEC-C044-9F54-DBBD9A9948B1}" presName="dummy4b" presStyleCnt="0"/>
      <dgm:spPr/>
    </dgm:pt>
    <dgm:pt modelId="{5B2EE9D5-2589-C447-A62C-969E04F25254}" type="pres">
      <dgm:prSet presAssocID="{0CF2D4B8-0FEC-C044-9F54-DBBD9A9948B1}" presName="wedge4Tx" presStyleLbl="node1" presStyleIdx="3" presStyleCnt="7">
        <dgm:presLayoutVars>
          <dgm:chMax val="0"/>
          <dgm:chPref val="0"/>
          <dgm:bulletEnabled val="1"/>
        </dgm:presLayoutVars>
      </dgm:prSet>
      <dgm:spPr/>
    </dgm:pt>
    <dgm:pt modelId="{E579F98C-E3A4-334A-AE7D-2844193EC805}" type="pres">
      <dgm:prSet presAssocID="{0CF2D4B8-0FEC-C044-9F54-DBBD9A9948B1}" presName="wedge5" presStyleLbl="node1" presStyleIdx="4" presStyleCnt="7"/>
      <dgm:spPr/>
    </dgm:pt>
    <dgm:pt modelId="{F3793054-192A-EE4B-ACE3-DDB5ACAD9E35}" type="pres">
      <dgm:prSet presAssocID="{0CF2D4B8-0FEC-C044-9F54-DBBD9A9948B1}" presName="dummy5a" presStyleCnt="0"/>
      <dgm:spPr/>
    </dgm:pt>
    <dgm:pt modelId="{14F158BC-50F9-BF4E-8FC3-03E8CD5E7A7F}" type="pres">
      <dgm:prSet presAssocID="{0CF2D4B8-0FEC-C044-9F54-DBBD9A9948B1}" presName="dummy5b" presStyleCnt="0"/>
      <dgm:spPr/>
    </dgm:pt>
    <dgm:pt modelId="{47B953E2-CD94-D04F-A1D3-1D6471E3F76E}" type="pres">
      <dgm:prSet presAssocID="{0CF2D4B8-0FEC-C044-9F54-DBBD9A9948B1}" presName="wedge5Tx" presStyleLbl="node1" presStyleIdx="4" presStyleCnt="7">
        <dgm:presLayoutVars>
          <dgm:chMax val="0"/>
          <dgm:chPref val="0"/>
          <dgm:bulletEnabled val="1"/>
        </dgm:presLayoutVars>
      </dgm:prSet>
      <dgm:spPr/>
    </dgm:pt>
    <dgm:pt modelId="{D6E9A35F-68FF-5948-801C-E018692E39A9}" type="pres">
      <dgm:prSet presAssocID="{0CF2D4B8-0FEC-C044-9F54-DBBD9A9948B1}" presName="wedge6" presStyleLbl="node1" presStyleIdx="5" presStyleCnt="7"/>
      <dgm:spPr/>
    </dgm:pt>
    <dgm:pt modelId="{1851B1A7-E295-0A4E-AB7C-D3AA42E8D1C2}" type="pres">
      <dgm:prSet presAssocID="{0CF2D4B8-0FEC-C044-9F54-DBBD9A9948B1}" presName="dummy6a" presStyleCnt="0"/>
      <dgm:spPr/>
    </dgm:pt>
    <dgm:pt modelId="{4665DA03-E1F6-6049-86D1-A6BD37D20FCE}" type="pres">
      <dgm:prSet presAssocID="{0CF2D4B8-0FEC-C044-9F54-DBBD9A9948B1}" presName="dummy6b" presStyleCnt="0"/>
      <dgm:spPr/>
    </dgm:pt>
    <dgm:pt modelId="{34CF75D2-B73F-1940-8185-A18446D018F8}" type="pres">
      <dgm:prSet presAssocID="{0CF2D4B8-0FEC-C044-9F54-DBBD9A9948B1}" presName="wedge6Tx" presStyleLbl="node1" presStyleIdx="5" presStyleCnt="7">
        <dgm:presLayoutVars>
          <dgm:chMax val="0"/>
          <dgm:chPref val="0"/>
          <dgm:bulletEnabled val="1"/>
        </dgm:presLayoutVars>
      </dgm:prSet>
      <dgm:spPr/>
    </dgm:pt>
    <dgm:pt modelId="{381E0CD8-8FDA-6949-A308-24E43BCD6CAF}" type="pres">
      <dgm:prSet presAssocID="{0CF2D4B8-0FEC-C044-9F54-DBBD9A9948B1}" presName="wedge7" presStyleLbl="node1" presStyleIdx="6" presStyleCnt="7"/>
      <dgm:spPr/>
    </dgm:pt>
    <dgm:pt modelId="{3DBD9D39-9CFC-E142-A6FB-E31ABEE78361}" type="pres">
      <dgm:prSet presAssocID="{0CF2D4B8-0FEC-C044-9F54-DBBD9A9948B1}" presName="dummy7a" presStyleCnt="0"/>
      <dgm:spPr/>
    </dgm:pt>
    <dgm:pt modelId="{A2247093-7CA9-3548-9E18-589DFE0850D6}" type="pres">
      <dgm:prSet presAssocID="{0CF2D4B8-0FEC-C044-9F54-DBBD9A9948B1}" presName="dummy7b" presStyleCnt="0"/>
      <dgm:spPr/>
    </dgm:pt>
    <dgm:pt modelId="{5B854322-A20C-DB44-9ABC-CC744DA92BFC}" type="pres">
      <dgm:prSet presAssocID="{0CF2D4B8-0FEC-C044-9F54-DBBD9A9948B1}" presName="wedge7Tx" presStyleLbl="node1" presStyleIdx="6" presStyleCnt="7">
        <dgm:presLayoutVars>
          <dgm:chMax val="0"/>
          <dgm:chPref val="0"/>
          <dgm:bulletEnabled val="1"/>
        </dgm:presLayoutVars>
      </dgm:prSet>
      <dgm:spPr/>
    </dgm:pt>
    <dgm:pt modelId="{0E410306-8697-8040-A949-AFF14AEE0415}" type="pres">
      <dgm:prSet presAssocID="{110DCB62-4DAD-B343-A3ED-C2DB24864FD6}" presName="arrowWedge1" presStyleLbl="fgSibTrans2D1" presStyleIdx="0" presStyleCnt="7"/>
      <dgm:spPr/>
    </dgm:pt>
    <dgm:pt modelId="{2B950C9C-6D2D-4B48-88B9-6F27BBFEBB3B}" type="pres">
      <dgm:prSet presAssocID="{41547CCC-7069-A24F-96C6-5B36AE190DBD}" presName="arrowWedge2" presStyleLbl="fgSibTrans2D1" presStyleIdx="1" presStyleCnt="7"/>
      <dgm:spPr/>
    </dgm:pt>
    <dgm:pt modelId="{646965AA-AAEC-F441-A724-3D7775C6B53B}" type="pres">
      <dgm:prSet presAssocID="{75381300-051E-F540-B761-880627CB3C0C}" presName="arrowWedge3" presStyleLbl="fgSibTrans2D1" presStyleIdx="2" presStyleCnt="7"/>
      <dgm:spPr/>
    </dgm:pt>
    <dgm:pt modelId="{E3DFA820-709B-854A-9643-3D39DA0E02B9}" type="pres">
      <dgm:prSet presAssocID="{0A5AAFB1-0845-8D4B-AE40-6A2276C3CAF3}" presName="arrowWedge4" presStyleLbl="fgSibTrans2D1" presStyleIdx="3" presStyleCnt="7"/>
      <dgm:spPr/>
    </dgm:pt>
    <dgm:pt modelId="{42276E3A-F06B-504A-8D9C-5BD2D1148BCB}" type="pres">
      <dgm:prSet presAssocID="{419CF68E-ECE5-864D-92D0-D772F2DD982F}" presName="arrowWedge5" presStyleLbl="fgSibTrans2D1" presStyleIdx="4" presStyleCnt="7"/>
      <dgm:spPr/>
    </dgm:pt>
    <dgm:pt modelId="{C94B48A5-0372-4D4C-AFDF-F8592B6F11AD}" type="pres">
      <dgm:prSet presAssocID="{9731113A-3535-2943-8D85-918B732336D0}" presName="arrowWedge6" presStyleLbl="fgSibTrans2D1" presStyleIdx="5" presStyleCnt="7"/>
      <dgm:spPr/>
    </dgm:pt>
    <dgm:pt modelId="{CAB836DC-4E57-FD48-809C-9F96C173C668}" type="pres">
      <dgm:prSet presAssocID="{5804ADD9-E5AF-D145-AD3D-1CB4E29ED8CD}" presName="arrowWedge7" presStyleLbl="fgSibTrans2D1" presStyleIdx="6" presStyleCnt="7"/>
      <dgm:spPr/>
    </dgm:pt>
  </dgm:ptLst>
  <dgm:cxnLst>
    <dgm:cxn modelId="{B44DE80B-7974-F446-A236-DB4E11FAC159}" type="presOf" srcId="{B6EAEFFB-82F8-7441-A798-9E4507E99487}" destId="{E579F98C-E3A4-334A-AE7D-2844193EC805}" srcOrd="0" destOrd="0" presId="urn:microsoft.com/office/officeart/2005/8/layout/cycle8"/>
    <dgm:cxn modelId="{83FDCD21-F938-8341-8491-3FBBD87ECF38}" type="presOf" srcId="{821F89A3-CCD3-734E-A0D5-8E9451815806}" destId="{06D17E4E-03DC-EB45-B9D1-87E3FBAF272B}" srcOrd="0" destOrd="0" presId="urn:microsoft.com/office/officeart/2005/8/layout/cycle8"/>
    <dgm:cxn modelId="{BCC6C926-B0F8-5544-AE9E-150DCBDF9AAE}" type="presOf" srcId="{25D0FF01-8F65-3147-925B-7C706B75E64E}" destId="{381E0CD8-8FDA-6949-A308-24E43BCD6CAF}" srcOrd="0" destOrd="0" presId="urn:microsoft.com/office/officeart/2005/8/layout/cycle8"/>
    <dgm:cxn modelId="{DDEEBA2B-582B-B440-91BB-79603FBB9D73}" type="presOf" srcId="{8DA92F85-F979-D14C-9FD2-51E50DFC4559}" destId="{1F264DEB-BF6A-E54F-BEF0-A3464954570E}" srcOrd="0" destOrd="0" presId="urn:microsoft.com/office/officeart/2005/8/layout/cycle8"/>
    <dgm:cxn modelId="{ED19C62F-4CE8-904B-9F5D-F788CAA2D660}" type="presOf" srcId="{04023A33-2326-434F-8279-1AB63FAC9C64}" destId="{5B2EE9D5-2589-C447-A62C-969E04F25254}" srcOrd="1" destOrd="0" presId="urn:microsoft.com/office/officeart/2005/8/layout/cycle8"/>
    <dgm:cxn modelId="{F0F54837-4316-1542-B88B-1C0E907DA9AD}" type="presOf" srcId="{B6EAEFFB-82F8-7441-A798-9E4507E99487}" destId="{47B953E2-CD94-D04F-A1D3-1D6471E3F76E}" srcOrd="1" destOrd="0" presId="urn:microsoft.com/office/officeart/2005/8/layout/cycle8"/>
    <dgm:cxn modelId="{B95ADE3B-31D4-EA40-8AC6-5BAECF13888E}" srcId="{0CF2D4B8-0FEC-C044-9F54-DBBD9A9948B1}" destId="{821F89A3-CCD3-734E-A0D5-8E9451815806}" srcOrd="2" destOrd="0" parTransId="{624205A5-9531-5D42-AEA0-6C4C80887351}" sibTransId="{75381300-051E-F540-B761-880627CB3C0C}"/>
    <dgm:cxn modelId="{BA64E559-C1CE-CC4F-976B-76CA3536D350}" type="presOf" srcId="{295268C9-C443-8741-8E85-D149E19A14C2}" destId="{438A99F5-4273-054B-973B-3ECEC38D9730}" srcOrd="1" destOrd="0" presId="urn:microsoft.com/office/officeart/2005/8/layout/cycle8"/>
    <dgm:cxn modelId="{1D69315D-F0A3-7B4F-968D-514169BC4166}" srcId="{0CF2D4B8-0FEC-C044-9F54-DBBD9A9948B1}" destId="{295268C9-C443-8741-8E85-D149E19A14C2}" srcOrd="1" destOrd="0" parTransId="{72547D02-C6AC-6A4A-A840-6712C335A2EC}" sibTransId="{41547CCC-7069-A24F-96C6-5B36AE190DBD}"/>
    <dgm:cxn modelId="{70FB3C67-54F8-3F46-873C-D9816D58CBDF}" type="presOf" srcId="{821F89A3-CCD3-734E-A0D5-8E9451815806}" destId="{15F1FA69-9740-4245-9A34-E00C505B1F73}" srcOrd="1" destOrd="0" presId="urn:microsoft.com/office/officeart/2005/8/layout/cycle8"/>
    <dgm:cxn modelId="{749A7B7C-D2C5-F142-8C70-897CE9985A35}" srcId="{0CF2D4B8-0FEC-C044-9F54-DBBD9A9948B1}" destId="{8DA92F85-F979-D14C-9FD2-51E50DFC4559}" srcOrd="0" destOrd="0" parTransId="{B3AE1ED2-F403-ED46-870F-8DA4AE2EF7FA}" sibTransId="{110DCB62-4DAD-B343-A3ED-C2DB24864FD6}"/>
    <dgm:cxn modelId="{9F62187E-31C4-3840-9A56-DC8CCA0D3E9E}" type="presOf" srcId="{295268C9-C443-8741-8E85-D149E19A14C2}" destId="{BDE5AD4E-B09C-DA43-8F30-95469A7C71C4}" srcOrd="0" destOrd="0" presId="urn:microsoft.com/office/officeart/2005/8/layout/cycle8"/>
    <dgm:cxn modelId="{7F9B10A2-DBB6-9F48-BB95-DF7375472F9C}" type="presOf" srcId="{1199DAA1-5476-D44B-B8CC-A9988726FE96}" destId="{34CF75D2-B73F-1940-8185-A18446D018F8}" srcOrd="1" destOrd="0" presId="urn:microsoft.com/office/officeart/2005/8/layout/cycle8"/>
    <dgm:cxn modelId="{D5563BA9-0D1D-1244-BF8F-50C01C1F5FAB}" type="presOf" srcId="{1199DAA1-5476-D44B-B8CC-A9988726FE96}" destId="{D6E9A35F-68FF-5948-801C-E018692E39A9}" srcOrd="0" destOrd="0" presId="urn:microsoft.com/office/officeart/2005/8/layout/cycle8"/>
    <dgm:cxn modelId="{37ADDFAF-E4B8-D54B-A70B-0BF1AA995425}" type="presOf" srcId="{25D0FF01-8F65-3147-925B-7C706B75E64E}" destId="{5B854322-A20C-DB44-9ABC-CC744DA92BFC}" srcOrd="1" destOrd="0" presId="urn:microsoft.com/office/officeart/2005/8/layout/cycle8"/>
    <dgm:cxn modelId="{DCC33EC7-8760-5E4D-B987-73CDD21E9CBE}" srcId="{0CF2D4B8-0FEC-C044-9F54-DBBD9A9948B1}" destId="{1199DAA1-5476-D44B-B8CC-A9988726FE96}" srcOrd="5" destOrd="0" parTransId="{BFE43362-3B62-314F-89FF-0CCC5E7C1681}" sibTransId="{9731113A-3535-2943-8D85-918B732336D0}"/>
    <dgm:cxn modelId="{F11BDDD0-4953-CC48-8910-D7B28F6D2D1C}" type="presOf" srcId="{0CF2D4B8-0FEC-C044-9F54-DBBD9A9948B1}" destId="{D67EA781-A79D-9648-B1BA-ACC2F49F6D7B}" srcOrd="0" destOrd="0" presId="urn:microsoft.com/office/officeart/2005/8/layout/cycle8"/>
    <dgm:cxn modelId="{99CAA3D6-AD98-3C40-8148-35BC9AC084DF}" srcId="{0CF2D4B8-0FEC-C044-9F54-DBBD9A9948B1}" destId="{04023A33-2326-434F-8279-1AB63FAC9C64}" srcOrd="3" destOrd="0" parTransId="{471C35BC-CC08-894B-B4C7-99427B31E9B5}" sibTransId="{0A5AAFB1-0845-8D4B-AE40-6A2276C3CAF3}"/>
    <dgm:cxn modelId="{4413D5DC-4546-CD4D-95EC-F428B74078C7}" type="presOf" srcId="{8DA92F85-F979-D14C-9FD2-51E50DFC4559}" destId="{F8C35A02-0967-C74B-87E1-F4E0D21121A5}" srcOrd="1" destOrd="0" presId="urn:microsoft.com/office/officeart/2005/8/layout/cycle8"/>
    <dgm:cxn modelId="{CE4489DD-8B7C-E445-B606-9548BD039810}" srcId="{0CF2D4B8-0FEC-C044-9F54-DBBD9A9948B1}" destId="{B6EAEFFB-82F8-7441-A798-9E4507E99487}" srcOrd="4" destOrd="0" parTransId="{2104B081-CBA9-B34C-B154-892BE4704CDD}" sibTransId="{419CF68E-ECE5-864D-92D0-D772F2DD982F}"/>
    <dgm:cxn modelId="{A1FCA7ED-16FB-214A-B2A6-C78A24614820}" srcId="{0CF2D4B8-0FEC-C044-9F54-DBBD9A9948B1}" destId="{25D0FF01-8F65-3147-925B-7C706B75E64E}" srcOrd="6" destOrd="0" parTransId="{B48C3A7F-97C0-2743-9B2D-F4CEE6443EC4}" sibTransId="{5804ADD9-E5AF-D145-AD3D-1CB4E29ED8CD}"/>
    <dgm:cxn modelId="{E69119EE-6D43-C345-BC7F-D64F44DB5EA7}" type="presOf" srcId="{04023A33-2326-434F-8279-1AB63FAC9C64}" destId="{6CD63930-3E0A-8D48-AF9C-B997296EB218}" srcOrd="0" destOrd="0" presId="urn:microsoft.com/office/officeart/2005/8/layout/cycle8"/>
    <dgm:cxn modelId="{3FE05333-5B1A-2B43-8E86-B4EE4A5D336A}" type="presParOf" srcId="{D67EA781-A79D-9648-B1BA-ACC2F49F6D7B}" destId="{1F264DEB-BF6A-E54F-BEF0-A3464954570E}" srcOrd="0" destOrd="0" presId="urn:microsoft.com/office/officeart/2005/8/layout/cycle8"/>
    <dgm:cxn modelId="{BE656611-76E1-1148-94B8-A58F5D63D55A}" type="presParOf" srcId="{D67EA781-A79D-9648-B1BA-ACC2F49F6D7B}" destId="{638AEA78-3D13-4247-9C7A-AAF3B5449004}" srcOrd="1" destOrd="0" presId="urn:microsoft.com/office/officeart/2005/8/layout/cycle8"/>
    <dgm:cxn modelId="{4C433A6E-E908-0745-B7B9-0ECD5D3C81DB}" type="presParOf" srcId="{D67EA781-A79D-9648-B1BA-ACC2F49F6D7B}" destId="{B1B698D5-CAFE-364F-84A3-BE56376E9632}" srcOrd="2" destOrd="0" presId="urn:microsoft.com/office/officeart/2005/8/layout/cycle8"/>
    <dgm:cxn modelId="{26E1A558-7B5D-1F42-A20A-3CDBA2937EAE}" type="presParOf" srcId="{D67EA781-A79D-9648-B1BA-ACC2F49F6D7B}" destId="{F8C35A02-0967-C74B-87E1-F4E0D21121A5}" srcOrd="3" destOrd="0" presId="urn:microsoft.com/office/officeart/2005/8/layout/cycle8"/>
    <dgm:cxn modelId="{F76BAF1E-7FB2-C443-85CD-AFECDA22D078}" type="presParOf" srcId="{D67EA781-A79D-9648-B1BA-ACC2F49F6D7B}" destId="{BDE5AD4E-B09C-DA43-8F30-95469A7C71C4}" srcOrd="4" destOrd="0" presId="urn:microsoft.com/office/officeart/2005/8/layout/cycle8"/>
    <dgm:cxn modelId="{7C731A70-7156-8247-B7FF-42AD5A97D983}" type="presParOf" srcId="{D67EA781-A79D-9648-B1BA-ACC2F49F6D7B}" destId="{F728A7DE-00E2-AA42-9EEF-41FCDC67AB37}" srcOrd="5" destOrd="0" presId="urn:microsoft.com/office/officeart/2005/8/layout/cycle8"/>
    <dgm:cxn modelId="{CD6216D8-204A-634B-A395-71EF8FDE31B3}" type="presParOf" srcId="{D67EA781-A79D-9648-B1BA-ACC2F49F6D7B}" destId="{C4E04F35-0F13-C54D-8E2F-9D6EB3F7421F}" srcOrd="6" destOrd="0" presId="urn:microsoft.com/office/officeart/2005/8/layout/cycle8"/>
    <dgm:cxn modelId="{0E511DC2-1805-494B-9607-76DD322FDB54}" type="presParOf" srcId="{D67EA781-A79D-9648-B1BA-ACC2F49F6D7B}" destId="{438A99F5-4273-054B-973B-3ECEC38D9730}" srcOrd="7" destOrd="0" presId="urn:microsoft.com/office/officeart/2005/8/layout/cycle8"/>
    <dgm:cxn modelId="{16DF1E23-0902-9D4B-A04A-31E4BB3D7D27}" type="presParOf" srcId="{D67EA781-A79D-9648-B1BA-ACC2F49F6D7B}" destId="{06D17E4E-03DC-EB45-B9D1-87E3FBAF272B}" srcOrd="8" destOrd="0" presId="urn:microsoft.com/office/officeart/2005/8/layout/cycle8"/>
    <dgm:cxn modelId="{8BC53820-7428-C44F-9BE3-7E5DF22EA435}" type="presParOf" srcId="{D67EA781-A79D-9648-B1BA-ACC2F49F6D7B}" destId="{760C49EA-AB2C-2248-8BC3-D3CEB1C2B943}" srcOrd="9" destOrd="0" presId="urn:microsoft.com/office/officeart/2005/8/layout/cycle8"/>
    <dgm:cxn modelId="{A11E61B8-7F6B-1448-849E-9E58A35A8DD2}" type="presParOf" srcId="{D67EA781-A79D-9648-B1BA-ACC2F49F6D7B}" destId="{4DF4E5C4-642C-DC4A-9394-F99293E00BA8}" srcOrd="10" destOrd="0" presId="urn:microsoft.com/office/officeart/2005/8/layout/cycle8"/>
    <dgm:cxn modelId="{C524606E-81F8-AB41-83A4-B0036724D875}" type="presParOf" srcId="{D67EA781-A79D-9648-B1BA-ACC2F49F6D7B}" destId="{15F1FA69-9740-4245-9A34-E00C505B1F73}" srcOrd="11" destOrd="0" presId="urn:microsoft.com/office/officeart/2005/8/layout/cycle8"/>
    <dgm:cxn modelId="{D566E649-EFED-7C43-A8DD-B22551CFD9C2}" type="presParOf" srcId="{D67EA781-A79D-9648-B1BA-ACC2F49F6D7B}" destId="{6CD63930-3E0A-8D48-AF9C-B997296EB218}" srcOrd="12" destOrd="0" presId="urn:microsoft.com/office/officeart/2005/8/layout/cycle8"/>
    <dgm:cxn modelId="{481A30CD-056D-F84D-B734-4CEE6A81BADA}" type="presParOf" srcId="{D67EA781-A79D-9648-B1BA-ACC2F49F6D7B}" destId="{794E6E60-D52C-D647-984C-66A24E038599}" srcOrd="13" destOrd="0" presId="urn:microsoft.com/office/officeart/2005/8/layout/cycle8"/>
    <dgm:cxn modelId="{7B81DD69-44A0-184E-83DE-168D5CD9ADAE}" type="presParOf" srcId="{D67EA781-A79D-9648-B1BA-ACC2F49F6D7B}" destId="{A8409A83-CA22-B34A-81A5-20502A316E0F}" srcOrd="14" destOrd="0" presId="urn:microsoft.com/office/officeart/2005/8/layout/cycle8"/>
    <dgm:cxn modelId="{444C68F9-4556-5842-A26F-5737E785991D}" type="presParOf" srcId="{D67EA781-A79D-9648-B1BA-ACC2F49F6D7B}" destId="{5B2EE9D5-2589-C447-A62C-969E04F25254}" srcOrd="15" destOrd="0" presId="urn:microsoft.com/office/officeart/2005/8/layout/cycle8"/>
    <dgm:cxn modelId="{DE481F46-C9B9-CF4C-8ECC-15B73F5377D2}" type="presParOf" srcId="{D67EA781-A79D-9648-B1BA-ACC2F49F6D7B}" destId="{E579F98C-E3A4-334A-AE7D-2844193EC805}" srcOrd="16" destOrd="0" presId="urn:microsoft.com/office/officeart/2005/8/layout/cycle8"/>
    <dgm:cxn modelId="{DCAC6269-D291-B241-B875-8F5A3F8636B3}" type="presParOf" srcId="{D67EA781-A79D-9648-B1BA-ACC2F49F6D7B}" destId="{F3793054-192A-EE4B-ACE3-DDB5ACAD9E35}" srcOrd="17" destOrd="0" presId="urn:microsoft.com/office/officeart/2005/8/layout/cycle8"/>
    <dgm:cxn modelId="{1AAA087D-ED39-6F4F-B548-EF0F92106B98}" type="presParOf" srcId="{D67EA781-A79D-9648-B1BA-ACC2F49F6D7B}" destId="{14F158BC-50F9-BF4E-8FC3-03E8CD5E7A7F}" srcOrd="18" destOrd="0" presId="urn:microsoft.com/office/officeart/2005/8/layout/cycle8"/>
    <dgm:cxn modelId="{34669FC7-3E0C-9643-B1EA-A58D5420A9F8}" type="presParOf" srcId="{D67EA781-A79D-9648-B1BA-ACC2F49F6D7B}" destId="{47B953E2-CD94-D04F-A1D3-1D6471E3F76E}" srcOrd="19" destOrd="0" presId="urn:microsoft.com/office/officeart/2005/8/layout/cycle8"/>
    <dgm:cxn modelId="{25D49259-EA07-1C44-A9AC-38E8EC72CE58}" type="presParOf" srcId="{D67EA781-A79D-9648-B1BA-ACC2F49F6D7B}" destId="{D6E9A35F-68FF-5948-801C-E018692E39A9}" srcOrd="20" destOrd="0" presId="urn:microsoft.com/office/officeart/2005/8/layout/cycle8"/>
    <dgm:cxn modelId="{ADAEC9CD-9C4D-9E40-A50D-AFEC89FC798C}" type="presParOf" srcId="{D67EA781-A79D-9648-B1BA-ACC2F49F6D7B}" destId="{1851B1A7-E295-0A4E-AB7C-D3AA42E8D1C2}" srcOrd="21" destOrd="0" presId="urn:microsoft.com/office/officeart/2005/8/layout/cycle8"/>
    <dgm:cxn modelId="{4289145C-085E-CE44-859A-0D819368234D}" type="presParOf" srcId="{D67EA781-A79D-9648-B1BA-ACC2F49F6D7B}" destId="{4665DA03-E1F6-6049-86D1-A6BD37D20FCE}" srcOrd="22" destOrd="0" presId="urn:microsoft.com/office/officeart/2005/8/layout/cycle8"/>
    <dgm:cxn modelId="{A0AA76D1-809E-0047-8997-38E8848F8079}" type="presParOf" srcId="{D67EA781-A79D-9648-B1BA-ACC2F49F6D7B}" destId="{34CF75D2-B73F-1940-8185-A18446D018F8}" srcOrd="23" destOrd="0" presId="urn:microsoft.com/office/officeart/2005/8/layout/cycle8"/>
    <dgm:cxn modelId="{6A6220D8-406D-B749-904D-683B2F2B72AD}" type="presParOf" srcId="{D67EA781-A79D-9648-B1BA-ACC2F49F6D7B}" destId="{381E0CD8-8FDA-6949-A308-24E43BCD6CAF}" srcOrd="24" destOrd="0" presId="urn:microsoft.com/office/officeart/2005/8/layout/cycle8"/>
    <dgm:cxn modelId="{09CE173D-4B6A-1C4B-88C8-7C1DDD1DF883}" type="presParOf" srcId="{D67EA781-A79D-9648-B1BA-ACC2F49F6D7B}" destId="{3DBD9D39-9CFC-E142-A6FB-E31ABEE78361}" srcOrd="25" destOrd="0" presId="urn:microsoft.com/office/officeart/2005/8/layout/cycle8"/>
    <dgm:cxn modelId="{316E23C8-10BD-A342-B007-33F2F9158A43}" type="presParOf" srcId="{D67EA781-A79D-9648-B1BA-ACC2F49F6D7B}" destId="{A2247093-7CA9-3548-9E18-589DFE0850D6}" srcOrd="26" destOrd="0" presId="urn:microsoft.com/office/officeart/2005/8/layout/cycle8"/>
    <dgm:cxn modelId="{AEA2091D-D392-B642-80C7-33A8824C9997}" type="presParOf" srcId="{D67EA781-A79D-9648-B1BA-ACC2F49F6D7B}" destId="{5B854322-A20C-DB44-9ABC-CC744DA92BFC}" srcOrd="27" destOrd="0" presId="urn:microsoft.com/office/officeart/2005/8/layout/cycle8"/>
    <dgm:cxn modelId="{BC1DD22D-9BA4-5D46-93F5-DAF175919F6F}" type="presParOf" srcId="{D67EA781-A79D-9648-B1BA-ACC2F49F6D7B}" destId="{0E410306-8697-8040-A949-AFF14AEE0415}" srcOrd="28" destOrd="0" presId="urn:microsoft.com/office/officeart/2005/8/layout/cycle8"/>
    <dgm:cxn modelId="{12563471-B513-4B44-85C5-4E43DE2CEC8F}" type="presParOf" srcId="{D67EA781-A79D-9648-B1BA-ACC2F49F6D7B}" destId="{2B950C9C-6D2D-4B48-88B9-6F27BBFEBB3B}" srcOrd="29" destOrd="0" presId="urn:microsoft.com/office/officeart/2005/8/layout/cycle8"/>
    <dgm:cxn modelId="{F94CCA9B-BF65-6542-9234-47EADEF5B406}" type="presParOf" srcId="{D67EA781-A79D-9648-B1BA-ACC2F49F6D7B}" destId="{646965AA-AAEC-F441-A724-3D7775C6B53B}" srcOrd="30" destOrd="0" presId="urn:microsoft.com/office/officeart/2005/8/layout/cycle8"/>
    <dgm:cxn modelId="{4B93F1AE-7DA5-3E44-A3D6-60A6948934C5}" type="presParOf" srcId="{D67EA781-A79D-9648-B1BA-ACC2F49F6D7B}" destId="{E3DFA820-709B-854A-9643-3D39DA0E02B9}" srcOrd="31" destOrd="0" presId="urn:microsoft.com/office/officeart/2005/8/layout/cycle8"/>
    <dgm:cxn modelId="{CBBD1A69-E171-5C4D-B0AA-0B56CE867FE4}" type="presParOf" srcId="{D67EA781-A79D-9648-B1BA-ACC2F49F6D7B}" destId="{42276E3A-F06B-504A-8D9C-5BD2D1148BCB}" srcOrd="32" destOrd="0" presId="urn:microsoft.com/office/officeart/2005/8/layout/cycle8"/>
    <dgm:cxn modelId="{EBFBC8E3-F87E-F544-8AAF-5147436C07DC}" type="presParOf" srcId="{D67EA781-A79D-9648-B1BA-ACC2F49F6D7B}" destId="{C94B48A5-0372-4D4C-AFDF-F8592B6F11AD}" srcOrd="33" destOrd="0" presId="urn:microsoft.com/office/officeart/2005/8/layout/cycle8"/>
    <dgm:cxn modelId="{2743A3A6-BDA9-2E4C-A678-79CA0DA59F94}" type="presParOf" srcId="{D67EA781-A79D-9648-B1BA-ACC2F49F6D7B}" destId="{CAB836DC-4E57-FD48-809C-9F96C173C668}" srcOrd="3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CB313E-4039-4312-AD1A-48FA9AFBBCF5}">
      <dsp:nvSpPr>
        <dsp:cNvPr id="0" name=""/>
        <dsp:cNvSpPr/>
      </dsp:nvSpPr>
      <dsp:spPr>
        <a:xfrm>
          <a:off x="770923" y="262314"/>
          <a:ext cx="823117" cy="82311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ACC17B-6465-4130-97E5-650512BAA249}">
      <dsp:nvSpPr>
        <dsp:cNvPr id="0" name=""/>
        <dsp:cNvSpPr/>
      </dsp:nvSpPr>
      <dsp:spPr>
        <a:xfrm>
          <a:off x="6599" y="1227030"/>
          <a:ext cx="2351763" cy="352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500" kern="1200" dirty="0"/>
            <a:t>Tech – changes rapidly</a:t>
          </a:r>
          <a:endParaRPr lang="en-US" sz="1500" kern="1200" dirty="0"/>
        </a:p>
      </dsp:txBody>
      <dsp:txXfrm>
        <a:off x="6599" y="1227030"/>
        <a:ext cx="2351763" cy="352764"/>
      </dsp:txXfrm>
    </dsp:sp>
    <dsp:sp modelId="{CE85A4A1-A0C6-4567-ACA4-9C84A84315BF}">
      <dsp:nvSpPr>
        <dsp:cNvPr id="0" name=""/>
        <dsp:cNvSpPr/>
      </dsp:nvSpPr>
      <dsp:spPr>
        <a:xfrm>
          <a:off x="6599" y="1645654"/>
          <a:ext cx="2351763" cy="1909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Full stack</a:t>
          </a:r>
          <a:endParaRPr lang="en-US" sz="1100" kern="1200"/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Programming languages: </a:t>
          </a:r>
          <a:r>
            <a:rPr lang="en-GB" sz="1100" kern="1200" dirty="0" err="1"/>
            <a:t>Javascript</a:t>
          </a:r>
          <a:r>
            <a:rPr lang="en-GB" sz="1100" kern="1200" dirty="0"/>
            <a:t>, Python, Java, others</a:t>
          </a:r>
          <a:endParaRPr lang="en-US" sz="1100" kern="1200" dirty="0"/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Mobile application development skills: iOS, Android</a:t>
          </a:r>
          <a:endParaRPr lang="en-US" sz="1100" kern="1200"/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UX, AI, Data science</a:t>
          </a:r>
          <a:endParaRPr lang="en-US" sz="1100" kern="1200" dirty="0"/>
        </a:p>
      </dsp:txBody>
      <dsp:txXfrm>
        <a:off x="6599" y="1645654"/>
        <a:ext cx="2351763" cy="1909644"/>
      </dsp:txXfrm>
    </dsp:sp>
    <dsp:sp modelId="{A28939F6-1D93-4EF1-8FBC-B17425DE0A15}">
      <dsp:nvSpPr>
        <dsp:cNvPr id="0" name=""/>
        <dsp:cNvSpPr/>
      </dsp:nvSpPr>
      <dsp:spPr>
        <a:xfrm>
          <a:off x="3534245" y="262314"/>
          <a:ext cx="823117" cy="82311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16B7B2-47B0-4755-ADF3-29F4D994E022}">
      <dsp:nvSpPr>
        <dsp:cNvPr id="0" name=""/>
        <dsp:cNvSpPr/>
      </dsp:nvSpPr>
      <dsp:spPr>
        <a:xfrm>
          <a:off x="2769922" y="1227030"/>
          <a:ext cx="2351763" cy="352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500" kern="1200" dirty="0"/>
            <a:t>Mindset – more constant</a:t>
          </a:r>
          <a:endParaRPr lang="en-US" sz="1500" kern="1200" dirty="0"/>
        </a:p>
      </dsp:txBody>
      <dsp:txXfrm>
        <a:off x="2769922" y="1227030"/>
        <a:ext cx="2351763" cy="352764"/>
      </dsp:txXfrm>
    </dsp:sp>
    <dsp:sp modelId="{0321CB61-8009-44C7-A22F-4B2CD8FD7DC5}">
      <dsp:nvSpPr>
        <dsp:cNvPr id="0" name=""/>
        <dsp:cNvSpPr/>
      </dsp:nvSpPr>
      <dsp:spPr>
        <a:xfrm>
          <a:off x="2769922" y="1645654"/>
          <a:ext cx="2351763" cy="1909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Agile…</a:t>
          </a:r>
          <a:endParaRPr lang="en-US" sz="1100" kern="1200" dirty="0"/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Willingness to </a:t>
          </a:r>
          <a:r>
            <a:rPr lang="en-GB" sz="1100" b="1" kern="1200" dirty="0"/>
            <a:t>constantly learn</a:t>
          </a:r>
          <a:r>
            <a:rPr lang="en-GB" sz="1100" kern="1200" dirty="0"/>
            <a:t> and </a:t>
          </a:r>
          <a:r>
            <a:rPr lang="en-GB" sz="1100" b="1" kern="1200" dirty="0"/>
            <a:t>experiment</a:t>
          </a:r>
          <a:endParaRPr lang="en-US" sz="1100" b="1" kern="1200" dirty="0"/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Constant </a:t>
          </a:r>
          <a:r>
            <a:rPr lang="en-GB" sz="1100" b="1" kern="1200" dirty="0"/>
            <a:t>curiosity</a:t>
          </a:r>
          <a:r>
            <a:rPr lang="en-GB" sz="1100" kern="1200" dirty="0"/>
            <a:t> about new topics</a:t>
          </a:r>
          <a:endParaRPr lang="en-US" sz="1100" kern="1200" dirty="0"/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Capability to work in </a:t>
          </a:r>
          <a:r>
            <a:rPr lang="en-GB" sz="1100" b="1" kern="1200" dirty="0"/>
            <a:t>self organized</a:t>
          </a:r>
          <a:r>
            <a:rPr lang="en-GB" sz="1100" kern="1200" dirty="0"/>
            <a:t> teams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 dirty="0"/>
            <a:t>Why: things change very quickly</a:t>
          </a:r>
          <a:endParaRPr lang="en-US" sz="1100" b="1" kern="1200" dirty="0"/>
        </a:p>
      </dsp:txBody>
      <dsp:txXfrm>
        <a:off x="2769922" y="1645654"/>
        <a:ext cx="2351763" cy="1909644"/>
      </dsp:txXfrm>
    </dsp:sp>
    <dsp:sp modelId="{6CFB4FB8-9B3E-4DE3-B648-15771FE0B709}">
      <dsp:nvSpPr>
        <dsp:cNvPr id="0" name=""/>
        <dsp:cNvSpPr/>
      </dsp:nvSpPr>
      <dsp:spPr>
        <a:xfrm>
          <a:off x="6297567" y="262314"/>
          <a:ext cx="823117" cy="82311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03C9D2-08FD-446F-ACA6-FA04A0D03497}">
      <dsp:nvSpPr>
        <dsp:cNvPr id="0" name=""/>
        <dsp:cNvSpPr/>
      </dsp:nvSpPr>
      <dsp:spPr>
        <a:xfrm>
          <a:off x="5533244" y="1227030"/>
          <a:ext cx="2351763" cy="352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500" kern="1200" dirty="0"/>
            <a:t>More than one path</a:t>
          </a:r>
          <a:endParaRPr lang="en-US" sz="1500" kern="1200" dirty="0"/>
        </a:p>
      </dsp:txBody>
      <dsp:txXfrm>
        <a:off x="5533244" y="1227030"/>
        <a:ext cx="2351763" cy="352764"/>
      </dsp:txXfrm>
    </dsp:sp>
    <dsp:sp modelId="{223D8401-E482-4978-8A4B-364E9F679744}">
      <dsp:nvSpPr>
        <dsp:cNvPr id="0" name=""/>
        <dsp:cNvSpPr/>
      </dsp:nvSpPr>
      <dsp:spPr>
        <a:xfrm>
          <a:off x="5533244" y="1645654"/>
          <a:ext cx="2351763" cy="1909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Apprenticeships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Summer trainees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Hobby projects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Open source 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 err="1"/>
            <a:t>MooC</a:t>
          </a:r>
          <a:r>
            <a:rPr lang="en-US" sz="1100" kern="1200" dirty="0"/>
            <a:t> 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Universities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Reading widely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Networking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Mentoring</a:t>
          </a:r>
        </a:p>
      </dsp:txBody>
      <dsp:txXfrm>
        <a:off x="5533244" y="1645654"/>
        <a:ext cx="2351763" cy="1909644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61FD1C-8848-EC43-9708-8C6FD920714C}">
      <dsp:nvSpPr>
        <dsp:cNvPr id="0" name=""/>
        <dsp:cNvSpPr/>
      </dsp:nvSpPr>
      <dsp:spPr>
        <a:xfrm>
          <a:off x="1893842" y="48685"/>
          <a:ext cx="784774" cy="7847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accent3"/>
              </a:solidFill>
            </a:rPr>
            <a:t>New Business Hypothesis with Measures</a:t>
          </a:r>
        </a:p>
      </dsp:txBody>
      <dsp:txXfrm>
        <a:off x="1893842" y="48685"/>
        <a:ext cx="784774" cy="784774"/>
      </dsp:txXfrm>
    </dsp:sp>
    <dsp:sp modelId="{5AF4EEE8-E83F-0C48-BE8A-F8458069B6C3}">
      <dsp:nvSpPr>
        <dsp:cNvPr id="0" name=""/>
        <dsp:cNvSpPr/>
      </dsp:nvSpPr>
      <dsp:spPr>
        <a:xfrm>
          <a:off x="512459" y="-597"/>
          <a:ext cx="2215441" cy="2215441"/>
        </a:xfrm>
        <a:prstGeom prst="circularArrow">
          <a:avLst>
            <a:gd name="adj1" fmla="val 6907"/>
            <a:gd name="adj2" fmla="val 465782"/>
            <a:gd name="adj3" fmla="val 547606"/>
            <a:gd name="adj4" fmla="val 20586612"/>
            <a:gd name="adj5" fmla="val 8059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6BE82A2-1B7C-7148-AD36-D747B98216A7}">
      <dsp:nvSpPr>
        <dsp:cNvPr id="0" name=""/>
        <dsp:cNvSpPr/>
      </dsp:nvSpPr>
      <dsp:spPr>
        <a:xfrm>
          <a:off x="1893842" y="1380785"/>
          <a:ext cx="784774" cy="7847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rgbClr val="1E1C11"/>
              </a:solidFill>
            </a:rPr>
            <a:t>Build MVP with built in measures</a:t>
          </a:r>
        </a:p>
      </dsp:txBody>
      <dsp:txXfrm>
        <a:off x="1893842" y="1380785"/>
        <a:ext cx="784774" cy="784774"/>
      </dsp:txXfrm>
    </dsp:sp>
    <dsp:sp modelId="{C578407F-C34E-FE44-BFB1-465620AD87FC}">
      <dsp:nvSpPr>
        <dsp:cNvPr id="0" name=""/>
        <dsp:cNvSpPr/>
      </dsp:nvSpPr>
      <dsp:spPr>
        <a:xfrm>
          <a:off x="512459" y="-597"/>
          <a:ext cx="2215441" cy="2215441"/>
        </a:xfrm>
        <a:prstGeom prst="circularArrow">
          <a:avLst>
            <a:gd name="adj1" fmla="val 6907"/>
            <a:gd name="adj2" fmla="val 465782"/>
            <a:gd name="adj3" fmla="val 5947606"/>
            <a:gd name="adj4" fmla="val 4386612"/>
            <a:gd name="adj5" fmla="val 8059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57934B9-4D05-864D-B598-1680F17FEFC4}">
      <dsp:nvSpPr>
        <dsp:cNvPr id="0" name=""/>
        <dsp:cNvSpPr/>
      </dsp:nvSpPr>
      <dsp:spPr>
        <a:xfrm>
          <a:off x="561742" y="1380785"/>
          <a:ext cx="784774" cy="7847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rgbClr val="1E1C11"/>
              </a:solidFill>
            </a:rPr>
            <a:t>Continuous Delivery / DevOps</a:t>
          </a:r>
        </a:p>
      </dsp:txBody>
      <dsp:txXfrm>
        <a:off x="561742" y="1380785"/>
        <a:ext cx="784774" cy="784774"/>
      </dsp:txXfrm>
    </dsp:sp>
    <dsp:sp modelId="{DDE8E3E7-B69E-BA40-9C1C-76C708E606DA}">
      <dsp:nvSpPr>
        <dsp:cNvPr id="0" name=""/>
        <dsp:cNvSpPr/>
      </dsp:nvSpPr>
      <dsp:spPr>
        <a:xfrm>
          <a:off x="512459" y="-597"/>
          <a:ext cx="2215441" cy="2215441"/>
        </a:xfrm>
        <a:prstGeom prst="circularArrow">
          <a:avLst>
            <a:gd name="adj1" fmla="val 6907"/>
            <a:gd name="adj2" fmla="val 465782"/>
            <a:gd name="adj3" fmla="val 11347606"/>
            <a:gd name="adj4" fmla="val 9786612"/>
            <a:gd name="adj5" fmla="val 8059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1DF8D87-2663-EA4C-BC33-9A73CA2CDB7B}">
      <dsp:nvSpPr>
        <dsp:cNvPr id="0" name=""/>
        <dsp:cNvSpPr/>
      </dsp:nvSpPr>
      <dsp:spPr>
        <a:xfrm>
          <a:off x="561742" y="48685"/>
          <a:ext cx="784774" cy="7847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rgbClr val="00B050"/>
              </a:solidFill>
            </a:rPr>
            <a:t>Prove Hypothesis in Production by Measures </a:t>
          </a:r>
        </a:p>
      </dsp:txBody>
      <dsp:txXfrm>
        <a:off x="561742" y="48685"/>
        <a:ext cx="784774" cy="784774"/>
      </dsp:txXfrm>
    </dsp:sp>
    <dsp:sp modelId="{24576403-44A0-4B41-85EC-C9F589528B0A}">
      <dsp:nvSpPr>
        <dsp:cNvPr id="0" name=""/>
        <dsp:cNvSpPr/>
      </dsp:nvSpPr>
      <dsp:spPr>
        <a:xfrm>
          <a:off x="512459" y="-597"/>
          <a:ext cx="2215441" cy="2215441"/>
        </a:xfrm>
        <a:prstGeom prst="circularArrow">
          <a:avLst>
            <a:gd name="adj1" fmla="val 6907"/>
            <a:gd name="adj2" fmla="val 465782"/>
            <a:gd name="adj3" fmla="val 16747606"/>
            <a:gd name="adj4" fmla="val 15186612"/>
            <a:gd name="adj5" fmla="val 8059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C51228-8048-E446-ACE2-14EFD194261B}">
      <dsp:nvSpPr>
        <dsp:cNvPr id="0" name=""/>
        <dsp:cNvSpPr/>
      </dsp:nvSpPr>
      <dsp:spPr>
        <a:xfrm>
          <a:off x="2109176" y="54729"/>
          <a:ext cx="860430" cy="8604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rgbClr val="1E1C11"/>
              </a:solidFill>
            </a:rPr>
            <a:t>Visibility &amp; Automation </a:t>
          </a:r>
        </a:p>
      </dsp:txBody>
      <dsp:txXfrm>
        <a:off x="2109176" y="54729"/>
        <a:ext cx="860430" cy="860430"/>
      </dsp:txXfrm>
    </dsp:sp>
    <dsp:sp modelId="{8A3D158A-A452-5449-BC45-F2D4C0B7C856}">
      <dsp:nvSpPr>
        <dsp:cNvPr id="0" name=""/>
        <dsp:cNvSpPr/>
      </dsp:nvSpPr>
      <dsp:spPr>
        <a:xfrm>
          <a:off x="594789" y="723"/>
          <a:ext cx="2428822" cy="2428822"/>
        </a:xfrm>
        <a:prstGeom prst="circularArrow">
          <a:avLst>
            <a:gd name="adj1" fmla="val 6908"/>
            <a:gd name="adj2" fmla="val 465826"/>
            <a:gd name="adj3" fmla="val 547419"/>
            <a:gd name="adj4" fmla="val 20586755"/>
            <a:gd name="adj5" fmla="val 8059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761FD1C-8848-EC43-9708-8C6FD920714C}">
      <dsp:nvSpPr>
        <dsp:cNvPr id="0" name=""/>
        <dsp:cNvSpPr/>
      </dsp:nvSpPr>
      <dsp:spPr>
        <a:xfrm>
          <a:off x="2109176" y="1515110"/>
          <a:ext cx="860430" cy="8604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1E1C11"/>
              </a:solidFill>
            </a:rPr>
            <a:t>CI/ Continuous Delivery / DevOps</a:t>
          </a:r>
        </a:p>
      </dsp:txBody>
      <dsp:txXfrm>
        <a:off x="2109176" y="1515110"/>
        <a:ext cx="860430" cy="860430"/>
      </dsp:txXfrm>
    </dsp:sp>
    <dsp:sp modelId="{5AF4EEE8-E83F-0C48-BE8A-F8458069B6C3}">
      <dsp:nvSpPr>
        <dsp:cNvPr id="0" name=""/>
        <dsp:cNvSpPr/>
      </dsp:nvSpPr>
      <dsp:spPr>
        <a:xfrm>
          <a:off x="594789" y="723"/>
          <a:ext cx="2428822" cy="2428822"/>
        </a:xfrm>
        <a:prstGeom prst="circularArrow">
          <a:avLst>
            <a:gd name="adj1" fmla="val 6908"/>
            <a:gd name="adj2" fmla="val 465826"/>
            <a:gd name="adj3" fmla="val 5947419"/>
            <a:gd name="adj4" fmla="val 4386755"/>
            <a:gd name="adj5" fmla="val 8059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B8D667E-0FDF-2B48-A339-E788C72F4EB6}">
      <dsp:nvSpPr>
        <dsp:cNvPr id="0" name=""/>
        <dsp:cNvSpPr/>
      </dsp:nvSpPr>
      <dsp:spPr>
        <a:xfrm>
          <a:off x="648795" y="1515110"/>
          <a:ext cx="860430" cy="8604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1E1C11"/>
              </a:solidFill>
            </a:rPr>
            <a:t>Productiv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1E1C11"/>
              </a:solidFill>
            </a:rPr>
            <a:t>Incremental Target Architecture</a:t>
          </a:r>
        </a:p>
      </dsp:txBody>
      <dsp:txXfrm>
        <a:off x="648795" y="1515110"/>
        <a:ext cx="860430" cy="860430"/>
      </dsp:txXfrm>
    </dsp:sp>
    <dsp:sp modelId="{FFC41098-557A-E842-AAF0-7D026DAB7A13}">
      <dsp:nvSpPr>
        <dsp:cNvPr id="0" name=""/>
        <dsp:cNvSpPr/>
      </dsp:nvSpPr>
      <dsp:spPr>
        <a:xfrm>
          <a:off x="594789" y="723"/>
          <a:ext cx="2428822" cy="2428822"/>
        </a:xfrm>
        <a:prstGeom prst="circularArrow">
          <a:avLst>
            <a:gd name="adj1" fmla="val 6908"/>
            <a:gd name="adj2" fmla="val 465826"/>
            <a:gd name="adj3" fmla="val 11347419"/>
            <a:gd name="adj4" fmla="val 9786755"/>
            <a:gd name="adj5" fmla="val 8059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6BE82A2-1B7C-7148-AD36-D747B98216A7}">
      <dsp:nvSpPr>
        <dsp:cNvPr id="0" name=""/>
        <dsp:cNvSpPr/>
      </dsp:nvSpPr>
      <dsp:spPr>
        <a:xfrm>
          <a:off x="648795" y="54729"/>
          <a:ext cx="860430" cy="8604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1E1C11"/>
              </a:solidFill>
            </a:rPr>
            <a:t>Build MVP with built in measures</a:t>
          </a:r>
        </a:p>
      </dsp:txBody>
      <dsp:txXfrm>
        <a:off x="648795" y="54729"/>
        <a:ext cx="860430" cy="860430"/>
      </dsp:txXfrm>
    </dsp:sp>
    <dsp:sp modelId="{C578407F-C34E-FE44-BFB1-465620AD87FC}">
      <dsp:nvSpPr>
        <dsp:cNvPr id="0" name=""/>
        <dsp:cNvSpPr/>
      </dsp:nvSpPr>
      <dsp:spPr>
        <a:xfrm>
          <a:off x="594789" y="723"/>
          <a:ext cx="2428822" cy="2428822"/>
        </a:xfrm>
        <a:prstGeom prst="circularArrow">
          <a:avLst>
            <a:gd name="adj1" fmla="val 6908"/>
            <a:gd name="adj2" fmla="val 465826"/>
            <a:gd name="adj3" fmla="val 16747419"/>
            <a:gd name="adj4" fmla="val 15186755"/>
            <a:gd name="adj5" fmla="val 8059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91A61F-2B1D-B845-9F07-07783787EA06}">
      <dsp:nvSpPr>
        <dsp:cNvPr id="0" name=""/>
        <dsp:cNvSpPr/>
      </dsp:nvSpPr>
      <dsp:spPr>
        <a:xfrm>
          <a:off x="2668" y="215278"/>
          <a:ext cx="2601931" cy="345600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e Inventory &amp; WIP</a:t>
          </a:r>
        </a:p>
      </dsp:txBody>
      <dsp:txXfrm>
        <a:off x="2668" y="215278"/>
        <a:ext cx="2601931" cy="345600"/>
      </dsp:txXfrm>
    </dsp:sp>
    <dsp:sp modelId="{8EC50D7F-A2EB-3544-BDE6-8E67F6B0D876}">
      <dsp:nvSpPr>
        <dsp:cNvPr id="0" name=""/>
        <dsp:cNvSpPr/>
      </dsp:nvSpPr>
      <dsp:spPr>
        <a:xfrm>
          <a:off x="2668" y="560878"/>
          <a:ext cx="2601931" cy="283284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Reduce Unimplemented backlog items</a:t>
          </a:r>
        </a:p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Reduce Bugs</a:t>
          </a:r>
        </a:p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Reduce age of bugs, code changes not in production</a:t>
          </a:r>
        </a:p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200" kern="1200" dirty="0"/>
        </a:p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WIP Limit</a:t>
          </a:r>
        </a:p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Unvalidated features</a:t>
          </a:r>
        </a:p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Epics/</a:t>
          </a:r>
          <a:r>
            <a:rPr lang="en-US" sz="1200" kern="1200" baseline="0" dirty="0"/>
            <a:t> </a:t>
          </a:r>
          <a:r>
            <a:rPr lang="en-US" sz="1200" kern="1200" dirty="0"/>
            <a:t>Features / stories in progress</a:t>
          </a:r>
        </a:p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Size of stories </a:t>
          </a:r>
        </a:p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Untested code</a:t>
          </a:r>
        </a:p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Code changes not in production</a:t>
          </a:r>
        </a:p>
        <a:p>
          <a:pPr marL="228600" lvl="2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Compiled but not tested code</a:t>
          </a:r>
        </a:p>
        <a:p>
          <a:pPr marL="228600" marR="0" lvl="2" indent="-114300" algn="l" defTabSz="5334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endParaRPr lang="en-US" sz="1200" kern="1200" dirty="0"/>
        </a:p>
      </dsp:txBody>
      <dsp:txXfrm>
        <a:off x="2668" y="560878"/>
        <a:ext cx="2601931" cy="2832840"/>
      </dsp:txXfrm>
    </dsp:sp>
    <dsp:sp modelId="{965E2060-0E59-1240-8827-223112F1A7B5}">
      <dsp:nvSpPr>
        <dsp:cNvPr id="0" name=""/>
        <dsp:cNvSpPr/>
      </dsp:nvSpPr>
      <dsp:spPr>
        <a:xfrm>
          <a:off x="2968870" y="215278"/>
          <a:ext cx="2601931" cy="345600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mprove Feedback time for </a:t>
          </a:r>
        </a:p>
      </dsp:txBody>
      <dsp:txXfrm>
        <a:off x="2968870" y="215278"/>
        <a:ext cx="2601931" cy="345600"/>
      </dsp:txXfrm>
    </dsp:sp>
    <dsp:sp modelId="{26849252-5618-6B4F-959C-20165ABF1EB0}">
      <dsp:nvSpPr>
        <dsp:cNvPr id="0" name=""/>
        <dsp:cNvSpPr/>
      </dsp:nvSpPr>
      <dsp:spPr>
        <a:xfrm>
          <a:off x="2968870" y="560878"/>
          <a:ext cx="2601931" cy="283284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User story invention  to produc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Commit to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running the unit tests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running component functional tests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running system functional tests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running system performance test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Compile tim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Test tim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Installation time to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Test environment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Production environment</a:t>
          </a:r>
        </a:p>
      </dsp:txBody>
      <dsp:txXfrm>
        <a:off x="2968870" y="560878"/>
        <a:ext cx="2601931" cy="2832840"/>
      </dsp:txXfrm>
    </dsp:sp>
    <dsp:sp modelId="{5AB642B5-6EFE-EA45-9A2C-1019CF52851D}">
      <dsp:nvSpPr>
        <dsp:cNvPr id="0" name=""/>
        <dsp:cNvSpPr/>
      </dsp:nvSpPr>
      <dsp:spPr>
        <a:xfrm>
          <a:off x="5935072" y="215278"/>
          <a:ext cx="2601931" cy="345600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liminate Waste</a:t>
          </a:r>
        </a:p>
      </dsp:txBody>
      <dsp:txXfrm>
        <a:off x="5935072" y="215278"/>
        <a:ext cx="2601931" cy="345600"/>
      </dsp:txXfrm>
    </dsp:sp>
    <dsp:sp modelId="{9FB1B846-4B0F-364C-BE47-8AA059E12237}">
      <dsp:nvSpPr>
        <dsp:cNvPr id="0" name=""/>
        <dsp:cNvSpPr/>
      </dsp:nvSpPr>
      <dsp:spPr>
        <a:xfrm>
          <a:off x="5935072" y="560878"/>
          <a:ext cx="2601931" cy="283284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Missing testing -&gt; unnecessary repeat loop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Automate repeated manual steps (build, deployment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Automate manual tests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Remove duplicated (repeated) work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Reduce/remove interim products not used afterward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Remove unnecessary step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Eliminate feature flags when their time has gone</a:t>
          </a:r>
        </a:p>
      </dsp:txBody>
      <dsp:txXfrm>
        <a:off x="5935072" y="560878"/>
        <a:ext cx="2601931" cy="283284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E536B4-C006-8348-8DC4-6BED60AF1078}">
      <dsp:nvSpPr>
        <dsp:cNvPr id="0" name=""/>
        <dsp:cNvSpPr/>
      </dsp:nvSpPr>
      <dsp:spPr>
        <a:xfrm>
          <a:off x="1512166" y="1790508"/>
          <a:ext cx="1505014" cy="13466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 err="1"/>
            <a:t>Goal</a:t>
          </a:r>
          <a:r>
            <a:rPr lang="fi-FI" sz="1400" kern="1200" dirty="0"/>
            <a:t> </a:t>
          </a:r>
          <a:r>
            <a:rPr lang="fi-FI" sz="1400" kern="1200" dirty="0" err="1"/>
            <a:t>dimensions</a:t>
          </a:r>
          <a:endParaRPr lang="fi-FI" sz="1400" kern="1200" dirty="0"/>
        </a:p>
      </dsp:txBody>
      <dsp:txXfrm>
        <a:off x="1732570" y="1987715"/>
        <a:ext cx="1064206" cy="952202"/>
      </dsp:txXfrm>
    </dsp:sp>
    <dsp:sp modelId="{0D0FB1DF-9B68-0F4A-BBE7-CA6D97B057CF}">
      <dsp:nvSpPr>
        <dsp:cNvPr id="0" name=""/>
        <dsp:cNvSpPr/>
      </dsp:nvSpPr>
      <dsp:spPr>
        <a:xfrm rot="11732543">
          <a:off x="561461" y="1948637"/>
          <a:ext cx="948766" cy="346830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2E6ECD-1699-3641-B4F6-C2AB1C9C6A20}">
      <dsp:nvSpPr>
        <dsp:cNvPr id="0" name=""/>
        <dsp:cNvSpPr/>
      </dsp:nvSpPr>
      <dsp:spPr>
        <a:xfrm>
          <a:off x="757" y="1532500"/>
          <a:ext cx="1156102" cy="92488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 err="1"/>
            <a:t>Speed</a:t>
          </a:r>
          <a:r>
            <a:rPr lang="fi-FI" sz="1400" kern="1200" dirty="0"/>
            <a:t> (</a:t>
          </a:r>
          <a:r>
            <a:rPr lang="fi-FI" sz="1400" kern="1200" dirty="0" err="1"/>
            <a:t>automation</a:t>
          </a:r>
          <a:r>
            <a:rPr lang="fi-FI" sz="1400" kern="1200" dirty="0"/>
            <a:t>)</a:t>
          </a:r>
        </a:p>
      </dsp:txBody>
      <dsp:txXfrm>
        <a:off x="27846" y="1559589"/>
        <a:ext cx="1101924" cy="870704"/>
      </dsp:txXfrm>
    </dsp:sp>
    <dsp:sp modelId="{A0EACFA0-5B7D-0E47-B591-F524D4DC0DBD}">
      <dsp:nvSpPr>
        <dsp:cNvPr id="0" name=""/>
        <dsp:cNvSpPr/>
      </dsp:nvSpPr>
      <dsp:spPr>
        <a:xfrm rot="14697015">
          <a:off x="1229025" y="1157352"/>
          <a:ext cx="1012201" cy="346830"/>
        </a:xfrm>
        <a:prstGeom prst="lef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F5785E-8B0C-8C49-A882-DFDDE0E01F54}">
      <dsp:nvSpPr>
        <dsp:cNvPr id="0" name=""/>
        <dsp:cNvSpPr/>
      </dsp:nvSpPr>
      <dsp:spPr>
        <a:xfrm>
          <a:off x="942789" y="409829"/>
          <a:ext cx="1156102" cy="924882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 err="1"/>
            <a:t>Predictability</a:t>
          </a:r>
          <a:r>
            <a:rPr lang="fi-FI" sz="1400" kern="1200" dirty="0"/>
            <a:t> of </a:t>
          </a:r>
          <a:r>
            <a:rPr lang="fi-FI" sz="1400" kern="1200" dirty="0" err="1"/>
            <a:t>throughput</a:t>
          </a:r>
          <a:endParaRPr lang="fi-FI" sz="1400" kern="1200" dirty="0"/>
        </a:p>
      </dsp:txBody>
      <dsp:txXfrm>
        <a:off x="969878" y="436918"/>
        <a:ext cx="1101924" cy="870704"/>
      </dsp:txXfrm>
    </dsp:sp>
    <dsp:sp modelId="{7272E9E1-35F9-214E-92A5-4452D94A04E4}">
      <dsp:nvSpPr>
        <dsp:cNvPr id="0" name=""/>
        <dsp:cNvSpPr/>
      </dsp:nvSpPr>
      <dsp:spPr>
        <a:xfrm rot="17663555">
          <a:off x="2277035" y="1156064"/>
          <a:ext cx="1004040" cy="346830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B1883A-EE13-2749-AAF0-B3AC5D9413A7}">
      <dsp:nvSpPr>
        <dsp:cNvPr id="0" name=""/>
        <dsp:cNvSpPr/>
      </dsp:nvSpPr>
      <dsp:spPr>
        <a:xfrm>
          <a:off x="2408331" y="409829"/>
          <a:ext cx="1156102" cy="92488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 err="1"/>
            <a:t>Quality</a:t>
          </a:r>
          <a:r>
            <a:rPr lang="fi-FI" sz="1400" kern="1200" dirty="0"/>
            <a:t> </a:t>
          </a:r>
          <a:r>
            <a:rPr lang="fi-FI" sz="1400" kern="1200" dirty="0" err="1"/>
            <a:t>Debt</a:t>
          </a:r>
          <a:r>
            <a:rPr lang="fi-FI" sz="1400" kern="1200" dirty="0"/>
            <a:t> </a:t>
          </a:r>
        </a:p>
      </dsp:txBody>
      <dsp:txXfrm>
        <a:off x="2435420" y="436918"/>
        <a:ext cx="1101924" cy="870704"/>
      </dsp:txXfrm>
    </dsp:sp>
    <dsp:sp modelId="{0C80C1BD-3D9A-C843-B2B3-ABEDE82D8759}">
      <dsp:nvSpPr>
        <dsp:cNvPr id="0" name=""/>
        <dsp:cNvSpPr/>
      </dsp:nvSpPr>
      <dsp:spPr>
        <a:xfrm rot="20655667">
          <a:off x="3017039" y="1947494"/>
          <a:ext cx="928786" cy="346830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873BBF-5DE8-BD4C-A0EA-8E73B8888025}">
      <dsp:nvSpPr>
        <dsp:cNvPr id="0" name=""/>
        <dsp:cNvSpPr/>
      </dsp:nvSpPr>
      <dsp:spPr>
        <a:xfrm>
          <a:off x="3350363" y="1532500"/>
          <a:ext cx="1156102" cy="924882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 err="1"/>
            <a:t>Visibility</a:t>
          </a:r>
          <a:endParaRPr lang="fi-FI" sz="1400" kern="1200" dirty="0"/>
        </a:p>
      </dsp:txBody>
      <dsp:txXfrm>
        <a:off x="3377452" y="1559589"/>
        <a:ext cx="1101924" cy="870704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EB8688-B541-8943-85A2-0BB97A624692}">
      <dsp:nvSpPr>
        <dsp:cNvPr id="0" name=""/>
        <dsp:cNvSpPr/>
      </dsp:nvSpPr>
      <dsp:spPr>
        <a:xfrm rot="5400000">
          <a:off x="1294167" y="681710"/>
          <a:ext cx="1062272" cy="128215"/>
        </a:xfrm>
        <a:prstGeom prst="rect">
          <a:avLst/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1DDABD-B425-D948-85CE-0EA98231D3FC}">
      <dsp:nvSpPr>
        <dsp:cNvPr id="0" name=""/>
        <dsp:cNvSpPr/>
      </dsp:nvSpPr>
      <dsp:spPr>
        <a:xfrm>
          <a:off x="1537287" y="1925"/>
          <a:ext cx="1424613" cy="854768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Amazon vs Azure vs Google Cloud vs local clouds vs IT vendor clouds vs hosting vs…</a:t>
          </a:r>
        </a:p>
      </dsp:txBody>
      <dsp:txXfrm>
        <a:off x="1562322" y="26960"/>
        <a:ext cx="1374543" cy="804698"/>
      </dsp:txXfrm>
    </dsp:sp>
    <dsp:sp modelId="{A2A06673-3EB0-5749-94CA-D3749D4DB1D7}">
      <dsp:nvSpPr>
        <dsp:cNvPr id="0" name=""/>
        <dsp:cNvSpPr/>
      </dsp:nvSpPr>
      <dsp:spPr>
        <a:xfrm rot="5400000">
          <a:off x="1294167" y="1750171"/>
          <a:ext cx="1062272" cy="128215"/>
        </a:xfrm>
        <a:prstGeom prst="rect">
          <a:avLst/>
        </a:prstGeom>
        <a:solidFill>
          <a:schemeClr val="accent2">
            <a:shade val="90000"/>
            <a:hueOff val="-58221"/>
            <a:satOff val="857"/>
            <a:lumOff val="307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069B0B-156B-9845-B856-833E2010C676}">
      <dsp:nvSpPr>
        <dsp:cNvPr id="0" name=""/>
        <dsp:cNvSpPr/>
      </dsp:nvSpPr>
      <dsp:spPr>
        <a:xfrm>
          <a:off x="1537287" y="1070385"/>
          <a:ext cx="1424613" cy="854768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JavaScript vs Python vs Java vs Scala vs C# vs PHP vs </a:t>
          </a:r>
          <a:r>
            <a:rPr lang="en-US" sz="1000" kern="1200" dirty="0" err="1"/>
            <a:t>RubyOnRails</a:t>
          </a:r>
          <a:endParaRPr lang="en-US" sz="1000" kern="1200" dirty="0"/>
        </a:p>
      </dsp:txBody>
      <dsp:txXfrm>
        <a:off x="1562322" y="1095420"/>
        <a:ext cx="1374543" cy="804698"/>
      </dsp:txXfrm>
    </dsp:sp>
    <dsp:sp modelId="{36A0DD0B-D22F-7646-9CF5-202D3F018BDE}">
      <dsp:nvSpPr>
        <dsp:cNvPr id="0" name=""/>
        <dsp:cNvSpPr/>
      </dsp:nvSpPr>
      <dsp:spPr>
        <a:xfrm rot="5400000">
          <a:off x="1294167" y="2818631"/>
          <a:ext cx="1062272" cy="128215"/>
        </a:xfrm>
        <a:prstGeom prst="rect">
          <a:avLst/>
        </a:prstGeom>
        <a:solidFill>
          <a:schemeClr val="accent2">
            <a:shade val="90000"/>
            <a:hueOff val="-116443"/>
            <a:satOff val="1714"/>
            <a:lumOff val="615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CD14F4-9EBA-1F42-A08F-892461D29BE5}">
      <dsp:nvSpPr>
        <dsp:cNvPr id="0" name=""/>
        <dsp:cNvSpPr/>
      </dsp:nvSpPr>
      <dsp:spPr>
        <a:xfrm>
          <a:off x="1537287" y="2138846"/>
          <a:ext cx="1424613" cy="854768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React vs Flutter vs AngularJS vs Knockout vs Ember vs…</a:t>
          </a:r>
        </a:p>
      </dsp:txBody>
      <dsp:txXfrm>
        <a:off x="1562322" y="2163881"/>
        <a:ext cx="1374543" cy="804698"/>
      </dsp:txXfrm>
    </dsp:sp>
    <dsp:sp modelId="{C0AC413A-F1DB-3C4E-88D5-B0833477FC39}">
      <dsp:nvSpPr>
        <dsp:cNvPr id="0" name=""/>
        <dsp:cNvSpPr/>
      </dsp:nvSpPr>
      <dsp:spPr>
        <a:xfrm>
          <a:off x="1828397" y="3352861"/>
          <a:ext cx="1888548" cy="128215"/>
        </a:xfrm>
        <a:prstGeom prst="rect">
          <a:avLst/>
        </a:prstGeom>
        <a:solidFill>
          <a:schemeClr val="accent2">
            <a:shade val="90000"/>
            <a:hueOff val="-174664"/>
            <a:satOff val="2571"/>
            <a:lumOff val="922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6F55DF-887A-A543-B681-046BF4E8793D}">
      <dsp:nvSpPr>
        <dsp:cNvPr id="0" name=""/>
        <dsp:cNvSpPr/>
      </dsp:nvSpPr>
      <dsp:spPr>
        <a:xfrm>
          <a:off x="1537287" y="3207306"/>
          <a:ext cx="1424613" cy="854768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 err="1"/>
            <a:t>Native</a:t>
          </a:r>
          <a:r>
            <a:rPr lang="fi-FI" sz="1000" kern="1200" dirty="0"/>
            <a:t> mobile </a:t>
          </a:r>
          <a:r>
            <a:rPr lang="fi-FI" sz="1000" kern="1200" dirty="0" err="1"/>
            <a:t>code</a:t>
          </a:r>
          <a:r>
            <a:rPr lang="fi-FI" sz="1000" kern="1200" dirty="0"/>
            <a:t> </a:t>
          </a:r>
          <a:r>
            <a:rPr lang="fi-FI" sz="1000" kern="1200" dirty="0" err="1"/>
            <a:t>vs</a:t>
          </a:r>
          <a:r>
            <a:rPr lang="fi-FI" sz="1000" kern="1200" dirty="0"/>
            <a:t> </a:t>
          </a:r>
          <a:r>
            <a:rPr lang="fi-FI" sz="1000" kern="1200" dirty="0" err="1"/>
            <a:t>React</a:t>
          </a:r>
          <a:r>
            <a:rPr lang="fi-FI" sz="1000" kern="1200" dirty="0"/>
            <a:t> </a:t>
          </a:r>
          <a:r>
            <a:rPr lang="fi-FI" sz="1000" kern="1200" dirty="0" err="1"/>
            <a:t>vs</a:t>
          </a:r>
          <a:r>
            <a:rPr lang="fi-FI" sz="1000" kern="1200" dirty="0"/>
            <a:t> HTML5 </a:t>
          </a:r>
          <a:r>
            <a:rPr lang="fi-FI" sz="1000" kern="1200" dirty="0" err="1"/>
            <a:t>vs</a:t>
          </a:r>
          <a:r>
            <a:rPr lang="fi-FI" sz="1000" kern="1200" dirty="0"/>
            <a:t> </a:t>
          </a:r>
          <a:r>
            <a:rPr lang="fi-FI" sz="1000" kern="1200" dirty="0" err="1"/>
            <a:t>generators</a:t>
          </a:r>
          <a:endParaRPr lang="fi-FI" sz="1000" kern="1200" dirty="0"/>
        </a:p>
      </dsp:txBody>
      <dsp:txXfrm>
        <a:off x="1562322" y="3232341"/>
        <a:ext cx="1374543" cy="804698"/>
      </dsp:txXfrm>
    </dsp:sp>
    <dsp:sp modelId="{E2618D6B-8F44-3B44-A949-DF332087A83D}">
      <dsp:nvSpPr>
        <dsp:cNvPr id="0" name=""/>
        <dsp:cNvSpPr/>
      </dsp:nvSpPr>
      <dsp:spPr>
        <a:xfrm rot="16200000">
          <a:off x="3188903" y="2818631"/>
          <a:ext cx="1062272" cy="128215"/>
        </a:xfrm>
        <a:prstGeom prst="rect">
          <a:avLst/>
        </a:prstGeom>
        <a:solidFill>
          <a:schemeClr val="accent2">
            <a:shade val="90000"/>
            <a:hueOff val="-232885"/>
            <a:satOff val="3428"/>
            <a:lumOff val="1230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97D9AC-9829-C247-9ACF-B9BE4ED9F988}">
      <dsp:nvSpPr>
        <dsp:cNvPr id="0" name=""/>
        <dsp:cNvSpPr/>
      </dsp:nvSpPr>
      <dsp:spPr>
        <a:xfrm>
          <a:off x="3432023" y="3207306"/>
          <a:ext cx="1424613" cy="854768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Relational databases vs NoSQL</a:t>
          </a:r>
        </a:p>
      </dsp:txBody>
      <dsp:txXfrm>
        <a:off x="3457058" y="3232341"/>
        <a:ext cx="1374543" cy="804698"/>
      </dsp:txXfrm>
    </dsp:sp>
    <dsp:sp modelId="{0F04647C-5A0C-D04A-832C-1A08A5783F6A}">
      <dsp:nvSpPr>
        <dsp:cNvPr id="0" name=""/>
        <dsp:cNvSpPr/>
      </dsp:nvSpPr>
      <dsp:spPr>
        <a:xfrm rot="16200000">
          <a:off x="3188903" y="1750171"/>
          <a:ext cx="1062272" cy="128215"/>
        </a:xfrm>
        <a:prstGeom prst="rect">
          <a:avLst/>
        </a:prstGeom>
        <a:solidFill>
          <a:schemeClr val="accent2">
            <a:shade val="90000"/>
            <a:hueOff val="-291107"/>
            <a:satOff val="4285"/>
            <a:lumOff val="1537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4AD961-5791-2B41-B695-85C0E19B372E}">
      <dsp:nvSpPr>
        <dsp:cNvPr id="0" name=""/>
        <dsp:cNvSpPr/>
      </dsp:nvSpPr>
      <dsp:spPr>
        <a:xfrm>
          <a:off x="3432023" y="2138846"/>
          <a:ext cx="1424613" cy="854768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261958"/>
            <a:satOff val="5990"/>
            <a:lumOff val="1519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000" kern="1200" dirty="0"/>
            <a:t>Windows vs Linux</a:t>
          </a:r>
          <a:endParaRPr lang="en-GB" sz="1000" kern="1200" dirty="0"/>
        </a:p>
      </dsp:txBody>
      <dsp:txXfrm>
        <a:off x="3457058" y="2163881"/>
        <a:ext cx="1374543" cy="804698"/>
      </dsp:txXfrm>
    </dsp:sp>
    <dsp:sp modelId="{E77299CF-86C6-7C49-B84E-DF628288E504}">
      <dsp:nvSpPr>
        <dsp:cNvPr id="0" name=""/>
        <dsp:cNvSpPr/>
      </dsp:nvSpPr>
      <dsp:spPr>
        <a:xfrm rot="16200000">
          <a:off x="3188903" y="681710"/>
          <a:ext cx="1062272" cy="128215"/>
        </a:xfrm>
        <a:prstGeom prst="rect">
          <a:avLst/>
        </a:prstGeom>
        <a:solidFill>
          <a:schemeClr val="accent2">
            <a:shade val="90000"/>
            <a:hueOff val="-349328"/>
            <a:satOff val="5142"/>
            <a:lumOff val="1845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33E341-84B3-CA44-8B5B-99BDB0FBF30E}">
      <dsp:nvSpPr>
        <dsp:cNvPr id="0" name=""/>
        <dsp:cNvSpPr/>
      </dsp:nvSpPr>
      <dsp:spPr>
        <a:xfrm>
          <a:off x="3432023" y="1070385"/>
          <a:ext cx="1424613" cy="854768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314349"/>
            <a:satOff val="7189"/>
            <a:lumOff val="1823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MongoDb vs other NoSQL databases</a:t>
          </a:r>
          <a:endParaRPr lang="en-US" sz="1000" kern="1200" dirty="0"/>
        </a:p>
      </dsp:txBody>
      <dsp:txXfrm>
        <a:off x="3457058" y="1095420"/>
        <a:ext cx="1374543" cy="804698"/>
      </dsp:txXfrm>
    </dsp:sp>
    <dsp:sp modelId="{3C6A7C76-F73F-5744-BD67-A99F7D1FD5EF}">
      <dsp:nvSpPr>
        <dsp:cNvPr id="0" name=""/>
        <dsp:cNvSpPr/>
      </dsp:nvSpPr>
      <dsp:spPr>
        <a:xfrm>
          <a:off x="3723133" y="147480"/>
          <a:ext cx="1888548" cy="128215"/>
        </a:xfrm>
        <a:prstGeom prst="rect">
          <a:avLst/>
        </a:prstGeom>
        <a:solidFill>
          <a:schemeClr val="accent2">
            <a:shade val="90000"/>
            <a:hueOff val="-407549"/>
            <a:satOff val="5999"/>
            <a:lumOff val="2152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B86309-52FE-E043-919B-0563669DBD6D}">
      <dsp:nvSpPr>
        <dsp:cNvPr id="0" name=""/>
        <dsp:cNvSpPr/>
      </dsp:nvSpPr>
      <dsp:spPr>
        <a:xfrm>
          <a:off x="3432023" y="1925"/>
          <a:ext cx="1424613" cy="854768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366741"/>
            <a:satOff val="8387"/>
            <a:lumOff val="2127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EnterpriseBus vs ordinary queues</a:t>
          </a:r>
          <a:endParaRPr lang="en-US" sz="1000" kern="1200" dirty="0"/>
        </a:p>
      </dsp:txBody>
      <dsp:txXfrm>
        <a:off x="3457058" y="26960"/>
        <a:ext cx="1374543" cy="804698"/>
      </dsp:txXfrm>
    </dsp:sp>
    <dsp:sp modelId="{9417C43E-59C5-BF46-AD5C-9EFB6F8FD81F}">
      <dsp:nvSpPr>
        <dsp:cNvPr id="0" name=""/>
        <dsp:cNvSpPr/>
      </dsp:nvSpPr>
      <dsp:spPr>
        <a:xfrm rot="5400000">
          <a:off x="5083639" y="681710"/>
          <a:ext cx="1062272" cy="128215"/>
        </a:xfrm>
        <a:prstGeom prst="rect">
          <a:avLst/>
        </a:prstGeom>
        <a:solidFill>
          <a:schemeClr val="accent2">
            <a:shade val="90000"/>
            <a:hueOff val="-465771"/>
            <a:satOff val="6856"/>
            <a:lumOff val="2460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3423EF-CA9B-A741-91DF-3C8FD56CF154}">
      <dsp:nvSpPr>
        <dsp:cNvPr id="0" name=""/>
        <dsp:cNvSpPr/>
      </dsp:nvSpPr>
      <dsp:spPr>
        <a:xfrm>
          <a:off x="5326759" y="1925"/>
          <a:ext cx="1424613" cy="854768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419132"/>
            <a:satOff val="9585"/>
            <a:lumOff val="243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pring vs J2EE</a:t>
          </a:r>
        </a:p>
      </dsp:txBody>
      <dsp:txXfrm>
        <a:off x="5351794" y="26960"/>
        <a:ext cx="1374543" cy="804698"/>
      </dsp:txXfrm>
    </dsp:sp>
    <dsp:sp modelId="{6C04D6CB-372E-AD41-9B72-AAC9469F9D50}">
      <dsp:nvSpPr>
        <dsp:cNvPr id="0" name=""/>
        <dsp:cNvSpPr/>
      </dsp:nvSpPr>
      <dsp:spPr>
        <a:xfrm rot="5400000">
          <a:off x="5083639" y="1750171"/>
          <a:ext cx="1062272" cy="128215"/>
        </a:xfrm>
        <a:prstGeom prst="rect">
          <a:avLst/>
        </a:prstGeom>
        <a:solidFill>
          <a:schemeClr val="accent2">
            <a:shade val="90000"/>
            <a:hueOff val="-523992"/>
            <a:satOff val="7713"/>
            <a:lumOff val="2767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35E330-481F-494E-A000-E0D5B39D93E0}">
      <dsp:nvSpPr>
        <dsp:cNvPr id="0" name=""/>
        <dsp:cNvSpPr/>
      </dsp:nvSpPr>
      <dsp:spPr>
        <a:xfrm>
          <a:off x="5326759" y="1070385"/>
          <a:ext cx="1424613" cy="854768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471524"/>
            <a:satOff val="10783"/>
            <a:lumOff val="273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Commercial or open source</a:t>
          </a:r>
          <a:endParaRPr lang="fi-FI" sz="1000" kern="1200" dirty="0"/>
        </a:p>
      </dsp:txBody>
      <dsp:txXfrm>
        <a:off x="5351794" y="1095420"/>
        <a:ext cx="1374543" cy="804698"/>
      </dsp:txXfrm>
    </dsp:sp>
    <dsp:sp modelId="{40980663-D43C-B843-A1A8-31318195C75C}">
      <dsp:nvSpPr>
        <dsp:cNvPr id="0" name=""/>
        <dsp:cNvSpPr/>
      </dsp:nvSpPr>
      <dsp:spPr>
        <a:xfrm>
          <a:off x="5326759" y="2138846"/>
          <a:ext cx="1424613" cy="854768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523915"/>
            <a:satOff val="11981"/>
            <a:lumOff val="303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 err="1"/>
            <a:t>etc</a:t>
          </a:r>
          <a:endParaRPr lang="fi-FI" sz="1000" kern="1200" dirty="0"/>
        </a:p>
      </dsp:txBody>
      <dsp:txXfrm>
        <a:off x="5351794" y="2163881"/>
        <a:ext cx="1374543" cy="8046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D3E28F-66ED-4430-9F23-E2E750C1905A}">
      <dsp:nvSpPr>
        <dsp:cNvPr id="0" name=""/>
        <dsp:cNvSpPr/>
      </dsp:nvSpPr>
      <dsp:spPr>
        <a:xfrm>
          <a:off x="800724" y="123473"/>
          <a:ext cx="852619" cy="76741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1C80D7-881F-4DD2-BB15-426C9A2EE050}">
      <dsp:nvSpPr>
        <dsp:cNvPr id="0" name=""/>
        <dsp:cNvSpPr/>
      </dsp:nvSpPr>
      <dsp:spPr>
        <a:xfrm>
          <a:off x="9005" y="986531"/>
          <a:ext cx="2436056" cy="3288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900" kern="1200"/>
            <a:t>Software &amp; ICT skills</a:t>
          </a:r>
          <a:endParaRPr lang="en-US" sz="1900" kern="1200"/>
        </a:p>
      </dsp:txBody>
      <dsp:txXfrm>
        <a:off x="9005" y="986531"/>
        <a:ext cx="2436056" cy="328892"/>
      </dsp:txXfrm>
    </dsp:sp>
    <dsp:sp modelId="{A16FEF08-AB20-4A12-B0DD-885983425DD0}">
      <dsp:nvSpPr>
        <dsp:cNvPr id="0" name=""/>
        <dsp:cNvSpPr/>
      </dsp:nvSpPr>
      <dsp:spPr>
        <a:xfrm>
          <a:off x="9005" y="1359909"/>
          <a:ext cx="2436056" cy="987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3A2F9E-9A72-440F-ADF9-2E92EBF8DA6A}">
      <dsp:nvSpPr>
        <dsp:cNvPr id="0" name=""/>
        <dsp:cNvSpPr/>
      </dsp:nvSpPr>
      <dsp:spPr>
        <a:xfrm>
          <a:off x="3663090" y="123473"/>
          <a:ext cx="852619" cy="76741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6F37C7-5710-4A43-87FE-F70940F549BE}">
      <dsp:nvSpPr>
        <dsp:cNvPr id="0" name=""/>
        <dsp:cNvSpPr/>
      </dsp:nvSpPr>
      <dsp:spPr>
        <a:xfrm>
          <a:off x="2871371" y="986531"/>
          <a:ext cx="2436056" cy="3288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900" kern="1200" dirty="0"/>
            <a:t>Diversity in teams</a:t>
          </a:r>
          <a:endParaRPr lang="en-US" sz="1900" kern="1200" dirty="0"/>
        </a:p>
      </dsp:txBody>
      <dsp:txXfrm>
        <a:off x="2871371" y="986531"/>
        <a:ext cx="2436056" cy="328892"/>
      </dsp:txXfrm>
    </dsp:sp>
    <dsp:sp modelId="{B09CB533-5EC3-410D-AB46-E71343AACD2B}">
      <dsp:nvSpPr>
        <dsp:cNvPr id="0" name=""/>
        <dsp:cNvSpPr/>
      </dsp:nvSpPr>
      <dsp:spPr>
        <a:xfrm>
          <a:off x="2871371" y="1359909"/>
          <a:ext cx="2436056" cy="987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Experience, short to have seen it all</a:t>
          </a:r>
          <a:endParaRPr lang="en-US" sz="1400" kern="1200" dirty="0"/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Females, males, any other</a:t>
          </a:r>
          <a:endParaRPr lang="en-US" sz="1400" kern="1200" dirty="0"/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Global, Local</a:t>
          </a:r>
          <a:endParaRPr lang="en-US" sz="1400" kern="1200" dirty="0"/>
        </a:p>
      </dsp:txBody>
      <dsp:txXfrm>
        <a:off x="2871371" y="1359909"/>
        <a:ext cx="2436056" cy="987791"/>
      </dsp:txXfrm>
    </dsp:sp>
    <dsp:sp modelId="{0F7B80D9-9B73-4015-AF4F-0BD783C4E57F}">
      <dsp:nvSpPr>
        <dsp:cNvPr id="0" name=""/>
        <dsp:cNvSpPr/>
      </dsp:nvSpPr>
      <dsp:spPr>
        <a:xfrm>
          <a:off x="6525456" y="123473"/>
          <a:ext cx="852619" cy="76741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222537-EF68-4F38-B7EB-F496303C1D16}">
      <dsp:nvSpPr>
        <dsp:cNvPr id="0" name=""/>
        <dsp:cNvSpPr/>
      </dsp:nvSpPr>
      <dsp:spPr>
        <a:xfrm>
          <a:off x="5733737" y="986531"/>
          <a:ext cx="2436056" cy="3288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900" kern="1200"/>
            <a:t>How:</a:t>
          </a:r>
          <a:endParaRPr lang="en-US" sz="1900" kern="1200"/>
        </a:p>
      </dsp:txBody>
      <dsp:txXfrm>
        <a:off x="5733737" y="986531"/>
        <a:ext cx="2436056" cy="328892"/>
      </dsp:txXfrm>
    </dsp:sp>
    <dsp:sp modelId="{DF5C221C-E912-4B94-BCD3-94635060BF63}">
      <dsp:nvSpPr>
        <dsp:cNvPr id="0" name=""/>
        <dsp:cNvSpPr/>
      </dsp:nvSpPr>
      <dsp:spPr>
        <a:xfrm>
          <a:off x="5733737" y="1359909"/>
          <a:ext cx="2436056" cy="987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Grow - different doing paths. Think long term – rotate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Support and work together with learning institutions</a:t>
          </a:r>
          <a:endParaRPr lang="en-US" sz="1400" kern="1200" dirty="0"/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Hire young – Hire existing talent – the balance</a:t>
          </a:r>
        </a:p>
      </dsp:txBody>
      <dsp:txXfrm>
        <a:off x="5733737" y="1359909"/>
        <a:ext cx="2436056" cy="98779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4ED8A1-35C1-DB46-8154-4410E3175331}">
      <dsp:nvSpPr>
        <dsp:cNvPr id="0" name=""/>
        <dsp:cNvSpPr/>
      </dsp:nvSpPr>
      <dsp:spPr>
        <a:xfrm>
          <a:off x="-3662077" y="-562679"/>
          <a:ext cx="4365360" cy="4365360"/>
        </a:xfrm>
        <a:prstGeom prst="blockArc">
          <a:avLst>
            <a:gd name="adj1" fmla="val 18900000"/>
            <a:gd name="adj2" fmla="val 2700000"/>
            <a:gd name="adj3" fmla="val 495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20A121-4B75-9E41-B15E-F41806A9C92B}">
      <dsp:nvSpPr>
        <dsp:cNvPr id="0" name=""/>
        <dsp:cNvSpPr/>
      </dsp:nvSpPr>
      <dsp:spPr>
        <a:xfrm>
          <a:off x="228367" y="147290"/>
          <a:ext cx="3869460" cy="29445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372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Female, Male, other</a:t>
          </a:r>
          <a:endParaRPr lang="en-US" sz="1200" b="1" kern="1200" dirty="0"/>
        </a:p>
      </dsp:txBody>
      <dsp:txXfrm>
        <a:off x="228367" y="147290"/>
        <a:ext cx="3869460" cy="294451"/>
      </dsp:txXfrm>
    </dsp:sp>
    <dsp:sp modelId="{4D8B4866-B386-1041-B4CC-FED93E9854A8}">
      <dsp:nvSpPr>
        <dsp:cNvPr id="0" name=""/>
        <dsp:cNvSpPr/>
      </dsp:nvSpPr>
      <dsp:spPr>
        <a:xfrm>
          <a:off x="44335" y="110484"/>
          <a:ext cx="368064" cy="3680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CA0EAC-E7EB-8943-8CA3-2E00E7C015FE}">
      <dsp:nvSpPr>
        <dsp:cNvPr id="0" name=""/>
        <dsp:cNvSpPr/>
      </dsp:nvSpPr>
      <dsp:spPr>
        <a:xfrm>
          <a:off x="495019" y="589226"/>
          <a:ext cx="3602808" cy="29445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372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Fresher, Junior, Senior, Expert</a:t>
          </a:r>
          <a:endParaRPr lang="en-US" sz="1200" kern="1200" dirty="0"/>
        </a:p>
      </dsp:txBody>
      <dsp:txXfrm>
        <a:off x="495019" y="589226"/>
        <a:ext cx="3602808" cy="294451"/>
      </dsp:txXfrm>
    </dsp:sp>
    <dsp:sp modelId="{AAC1D892-E858-1549-B5B7-85C276EA3E3F}">
      <dsp:nvSpPr>
        <dsp:cNvPr id="0" name=""/>
        <dsp:cNvSpPr/>
      </dsp:nvSpPr>
      <dsp:spPr>
        <a:xfrm>
          <a:off x="310987" y="552420"/>
          <a:ext cx="368064" cy="3680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6707D7-0EF0-EE44-B799-43A59D140A7F}">
      <dsp:nvSpPr>
        <dsp:cNvPr id="0" name=""/>
        <dsp:cNvSpPr/>
      </dsp:nvSpPr>
      <dsp:spPr>
        <a:xfrm>
          <a:off x="641143" y="1030838"/>
          <a:ext cx="3456684" cy="29445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372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Generations – youngster to have seen it all</a:t>
          </a:r>
          <a:endParaRPr lang="en-US" sz="1200" kern="1200" dirty="0"/>
        </a:p>
      </dsp:txBody>
      <dsp:txXfrm>
        <a:off x="641143" y="1030838"/>
        <a:ext cx="3456684" cy="294451"/>
      </dsp:txXfrm>
    </dsp:sp>
    <dsp:sp modelId="{A2373974-854C-F448-BB0A-2763F1B2782D}">
      <dsp:nvSpPr>
        <dsp:cNvPr id="0" name=""/>
        <dsp:cNvSpPr/>
      </dsp:nvSpPr>
      <dsp:spPr>
        <a:xfrm>
          <a:off x="457111" y="994032"/>
          <a:ext cx="368064" cy="3680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9ADD97-515E-2642-8EE8-FEB1D949964B}">
      <dsp:nvSpPr>
        <dsp:cNvPr id="0" name=""/>
        <dsp:cNvSpPr/>
      </dsp:nvSpPr>
      <dsp:spPr>
        <a:xfrm>
          <a:off x="687799" y="1472774"/>
          <a:ext cx="3410028" cy="29445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372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Global, local</a:t>
          </a:r>
          <a:endParaRPr lang="en-US" sz="1200" kern="1200" dirty="0"/>
        </a:p>
      </dsp:txBody>
      <dsp:txXfrm>
        <a:off x="687799" y="1472774"/>
        <a:ext cx="3410028" cy="294451"/>
      </dsp:txXfrm>
    </dsp:sp>
    <dsp:sp modelId="{A3772FE8-64E2-2D49-B829-87E0533AD60B}">
      <dsp:nvSpPr>
        <dsp:cNvPr id="0" name=""/>
        <dsp:cNvSpPr/>
      </dsp:nvSpPr>
      <dsp:spPr>
        <a:xfrm>
          <a:off x="503767" y="1435968"/>
          <a:ext cx="368064" cy="3680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18FC90-D390-504A-B556-BA30221EAAB3}">
      <dsp:nvSpPr>
        <dsp:cNvPr id="0" name=""/>
        <dsp:cNvSpPr/>
      </dsp:nvSpPr>
      <dsp:spPr>
        <a:xfrm>
          <a:off x="641143" y="1914710"/>
          <a:ext cx="3456684" cy="29445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372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Training backgrounds</a:t>
          </a:r>
          <a:endParaRPr lang="en-US" sz="1200" kern="1200" dirty="0"/>
        </a:p>
      </dsp:txBody>
      <dsp:txXfrm>
        <a:off x="641143" y="1914710"/>
        <a:ext cx="3456684" cy="294451"/>
      </dsp:txXfrm>
    </dsp:sp>
    <dsp:sp modelId="{F66425E6-7A2B-064B-B10D-445F64BBB2BE}">
      <dsp:nvSpPr>
        <dsp:cNvPr id="0" name=""/>
        <dsp:cNvSpPr/>
      </dsp:nvSpPr>
      <dsp:spPr>
        <a:xfrm>
          <a:off x="457111" y="1877904"/>
          <a:ext cx="368064" cy="3680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34F33B-BE88-4742-B3F2-8F78AD16CB00}">
      <dsp:nvSpPr>
        <dsp:cNvPr id="0" name=""/>
        <dsp:cNvSpPr/>
      </dsp:nvSpPr>
      <dsp:spPr>
        <a:xfrm>
          <a:off x="495019" y="2356322"/>
          <a:ext cx="3602808" cy="29445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372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/>
            <a:t>Skill and industry domains</a:t>
          </a:r>
          <a:endParaRPr lang="en-US" sz="1200" kern="1200"/>
        </a:p>
      </dsp:txBody>
      <dsp:txXfrm>
        <a:off x="495019" y="2356322"/>
        <a:ext cx="3602808" cy="294451"/>
      </dsp:txXfrm>
    </dsp:sp>
    <dsp:sp modelId="{907B740E-C621-104E-A138-FC3A5BE38C1F}">
      <dsp:nvSpPr>
        <dsp:cNvPr id="0" name=""/>
        <dsp:cNvSpPr/>
      </dsp:nvSpPr>
      <dsp:spPr>
        <a:xfrm>
          <a:off x="310987" y="2319516"/>
          <a:ext cx="368064" cy="3680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B0A442-8F3F-9E48-9054-B61C18F45028}">
      <dsp:nvSpPr>
        <dsp:cNvPr id="0" name=""/>
        <dsp:cNvSpPr/>
      </dsp:nvSpPr>
      <dsp:spPr>
        <a:xfrm>
          <a:off x="228367" y="2798258"/>
          <a:ext cx="3869460" cy="29445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372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/>
            <a:t>Cultural backgrounds</a:t>
          </a:r>
          <a:endParaRPr lang="en-US" sz="1200" kern="1200"/>
        </a:p>
      </dsp:txBody>
      <dsp:txXfrm>
        <a:off x="228367" y="2798258"/>
        <a:ext cx="3869460" cy="294451"/>
      </dsp:txXfrm>
    </dsp:sp>
    <dsp:sp modelId="{9F4BF6BA-C567-0A4B-8766-A4B0114AF050}">
      <dsp:nvSpPr>
        <dsp:cNvPr id="0" name=""/>
        <dsp:cNvSpPr/>
      </dsp:nvSpPr>
      <dsp:spPr>
        <a:xfrm>
          <a:off x="44335" y="2761452"/>
          <a:ext cx="368064" cy="3680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D3E28F-66ED-4430-9F23-E2E750C1905A}">
      <dsp:nvSpPr>
        <dsp:cNvPr id="0" name=""/>
        <dsp:cNvSpPr/>
      </dsp:nvSpPr>
      <dsp:spPr>
        <a:xfrm>
          <a:off x="849042" y="229693"/>
          <a:ext cx="852619" cy="852619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1C80D7-881F-4DD2-BB15-426C9A2EE050}">
      <dsp:nvSpPr>
        <dsp:cNvPr id="0" name=""/>
        <dsp:cNvSpPr/>
      </dsp:nvSpPr>
      <dsp:spPr>
        <a:xfrm>
          <a:off x="9005" y="1169310"/>
          <a:ext cx="2436056" cy="4110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/>
            <a:t>Hire well</a:t>
          </a:r>
        </a:p>
      </dsp:txBody>
      <dsp:txXfrm>
        <a:off x="9005" y="1169310"/>
        <a:ext cx="2436056" cy="411084"/>
      </dsp:txXfrm>
    </dsp:sp>
    <dsp:sp modelId="{A16FEF08-AB20-4A12-B0DD-885983425DD0}">
      <dsp:nvSpPr>
        <dsp:cNvPr id="0" name=""/>
        <dsp:cNvSpPr/>
      </dsp:nvSpPr>
      <dsp:spPr>
        <a:xfrm>
          <a:off x="9005" y="1620609"/>
          <a:ext cx="2436056" cy="6203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Involve teams in hiring</a:t>
          </a:r>
        </a:p>
      </dsp:txBody>
      <dsp:txXfrm>
        <a:off x="9005" y="1620609"/>
        <a:ext cx="2436056" cy="620334"/>
      </dsp:txXfrm>
    </dsp:sp>
    <dsp:sp modelId="{353A2F9E-9A72-440F-ADF9-2E92EBF8DA6A}">
      <dsp:nvSpPr>
        <dsp:cNvPr id="0" name=""/>
        <dsp:cNvSpPr/>
      </dsp:nvSpPr>
      <dsp:spPr>
        <a:xfrm>
          <a:off x="3663090" y="230230"/>
          <a:ext cx="852619" cy="852619"/>
        </a:xfrm>
        <a:prstGeom prst="rect">
          <a:avLst/>
        </a:prstGeom>
        <a:blipFill rotWithShape="1"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6F37C7-5710-4A43-87FE-F70940F549BE}">
      <dsp:nvSpPr>
        <dsp:cNvPr id="0" name=""/>
        <dsp:cNvSpPr/>
      </dsp:nvSpPr>
      <dsp:spPr>
        <a:xfrm>
          <a:off x="2871371" y="1169310"/>
          <a:ext cx="2436056" cy="4110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 dirty="0"/>
            <a:t>Take good care of the people hired</a:t>
          </a:r>
          <a:endParaRPr lang="en-US" sz="1400" kern="1200" dirty="0"/>
        </a:p>
      </dsp:txBody>
      <dsp:txXfrm>
        <a:off x="2871371" y="1169310"/>
        <a:ext cx="2436056" cy="411084"/>
      </dsp:txXfrm>
    </dsp:sp>
    <dsp:sp modelId="{B09CB533-5EC3-410D-AB46-E71343AACD2B}">
      <dsp:nvSpPr>
        <dsp:cNvPr id="0" name=""/>
        <dsp:cNvSpPr/>
      </dsp:nvSpPr>
      <dsp:spPr>
        <a:xfrm>
          <a:off x="2871371" y="1620609"/>
          <a:ext cx="2436056" cy="6203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</dsp:txBody>
      <dsp:txXfrm>
        <a:off x="2871371" y="1620609"/>
        <a:ext cx="2436056" cy="620334"/>
      </dsp:txXfrm>
    </dsp:sp>
    <dsp:sp modelId="{0F7B80D9-9B73-4015-AF4F-0BD783C4E57F}">
      <dsp:nvSpPr>
        <dsp:cNvPr id="0" name=""/>
        <dsp:cNvSpPr/>
      </dsp:nvSpPr>
      <dsp:spPr>
        <a:xfrm>
          <a:off x="6525456" y="230230"/>
          <a:ext cx="852619" cy="852619"/>
        </a:xfrm>
        <a:prstGeom prst="rect">
          <a:avLst/>
        </a:prstGeom>
        <a:blipFill rotWithShape="1"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222537-EF68-4F38-B7EB-F496303C1D16}">
      <dsp:nvSpPr>
        <dsp:cNvPr id="0" name=""/>
        <dsp:cNvSpPr/>
      </dsp:nvSpPr>
      <dsp:spPr>
        <a:xfrm>
          <a:off x="5733737" y="1169310"/>
          <a:ext cx="2436056" cy="4110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400" kern="1200" dirty="0"/>
            <a:t>Build for long term</a:t>
          </a:r>
        </a:p>
      </dsp:txBody>
      <dsp:txXfrm>
        <a:off x="5733737" y="1169310"/>
        <a:ext cx="2436056" cy="411084"/>
      </dsp:txXfrm>
    </dsp:sp>
    <dsp:sp modelId="{DF5C221C-E912-4B94-BCD3-94635060BF63}">
      <dsp:nvSpPr>
        <dsp:cNvPr id="0" name=""/>
        <dsp:cNvSpPr/>
      </dsp:nvSpPr>
      <dsp:spPr>
        <a:xfrm>
          <a:off x="5733737" y="1620609"/>
          <a:ext cx="2436056" cy="6203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ulture of learning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ulture of working together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Be an example</a:t>
          </a:r>
        </a:p>
      </dsp:txBody>
      <dsp:txXfrm>
        <a:off x="5733737" y="1620609"/>
        <a:ext cx="2436056" cy="62033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3C62CA-51CD-1248-8BE5-9E76FEFF0256}">
      <dsp:nvSpPr>
        <dsp:cNvPr id="0" name=""/>
        <dsp:cNvSpPr/>
      </dsp:nvSpPr>
      <dsp:spPr>
        <a:xfrm>
          <a:off x="0" y="0"/>
          <a:ext cx="5710954" cy="58894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Basics in </a:t>
          </a:r>
          <a:r>
            <a:rPr lang="fi-FI" sz="2600" kern="1200" dirty="0" err="1"/>
            <a:t>place</a:t>
          </a:r>
          <a:r>
            <a:rPr lang="fi-FI" sz="2600" kern="1200" dirty="0"/>
            <a:t>: </a:t>
          </a:r>
          <a:r>
            <a:rPr lang="fi-FI" sz="2600" kern="1200" dirty="0" err="1"/>
            <a:t>Agile</a:t>
          </a:r>
          <a:r>
            <a:rPr lang="fi-FI" sz="2600" kern="1200" dirty="0"/>
            <a:t> &amp; ci</a:t>
          </a:r>
          <a:endParaRPr lang="en-GB" sz="2600" kern="1200" dirty="0"/>
        </a:p>
      </dsp:txBody>
      <dsp:txXfrm>
        <a:off x="17250" y="17250"/>
        <a:ext cx="5006530" cy="554444"/>
      </dsp:txXfrm>
    </dsp:sp>
    <dsp:sp modelId="{E3CB64EE-40D8-F544-8C44-FFFF3ED9C7A9}">
      <dsp:nvSpPr>
        <dsp:cNvPr id="0" name=""/>
        <dsp:cNvSpPr/>
      </dsp:nvSpPr>
      <dsp:spPr>
        <a:xfrm>
          <a:off x="426467" y="670741"/>
          <a:ext cx="5710954" cy="58894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 err="1"/>
            <a:t>Ways</a:t>
          </a:r>
          <a:r>
            <a:rPr lang="fi-FI" sz="2600" kern="1200" dirty="0"/>
            <a:t> of </a:t>
          </a:r>
          <a:r>
            <a:rPr lang="fi-FI" sz="2600" kern="1200" dirty="0" err="1"/>
            <a:t>working</a:t>
          </a:r>
          <a:r>
            <a:rPr lang="fi-FI" sz="2600" kern="1200" dirty="0"/>
            <a:t> </a:t>
          </a:r>
          <a:r>
            <a:rPr lang="fi-FI" sz="2600" kern="1200" dirty="0" err="1"/>
            <a:t>aspects</a:t>
          </a:r>
          <a:endParaRPr lang="fi-FI" sz="2600" kern="1200" dirty="0"/>
        </a:p>
      </dsp:txBody>
      <dsp:txXfrm>
        <a:off x="443717" y="687991"/>
        <a:ext cx="4867173" cy="554444"/>
      </dsp:txXfrm>
    </dsp:sp>
    <dsp:sp modelId="{48F347B7-FA9E-594C-8651-65A654F27678}">
      <dsp:nvSpPr>
        <dsp:cNvPr id="0" name=""/>
        <dsp:cNvSpPr/>
      </dsp:nvSpPr>
      <dsp:spPr>
        <a:xfrm>
          <a:off x="852934" y="1341483"/>
          <a:ext cx="5710954" cy="58894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 err="1"/>
            <a:t>Scaling</a:t>
          </a:r>
          <a:r>
            <a:rPr lang="fi-FI" sz="2600" kern="1200" dirty="0"/>
            <a:t> to </a:t>
          </a:r>
          <a:r>
            <a:rPr lang="fi-FI" sz="2600" kern="1200" dirty="0" err="1"/>
            <a:t>multiple</a:t>
          </a:r>
          <a:r>
            <a:rPr lang="fi-FI" sz="2600" kern="1200" dirty="0"/>
            <a:t> </a:t>
          </a:r>
          <a:r>
            <a:rPr lang="fi-FI" sz="2600" kern="1200" dirty="0" err="1"/>
            <a:t>teams</a:t>
          </a:r>
          <a:endParaRPr lang="en-GB" sz="2600" kern="1200" dirty="0"/>
        </a:p>
      </dsp:txBody>
      <dsp:txXfrm>
        <a:off x="870184" y="1358733"/>
        <a:ext cx="4867173" cy="554444"/>
      </dsp:txXfrm>
    </dsp:sp>
    <dsp:sp modelId="{394BE473-C6CE-1C49-86C9-567D57B6086D}">
      <dsp:nvSpPr>
        <dsp:cNvPr id="0" name=""/>
        <dsp:cNvSpPr/>
      </dsp:nvSpPr>
      <dsp:spPr>
        <a:xfrm>
          <a:off x="1279402" y="2012225"/>
          <a:ext cx="5710954" cy="58894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Technology </a:t>
          </a:r>
          <a:r>
            <a:rPr lang="fi-FI" sz="2600" kern="1200" dirty="0" err="1"/>
            <a:t>aspects</a:t>
          </a:r>
          <a:endParaRPr lang="fi-FI" sz="2600" kern="1200" dirty="0"/>
        </a:p>
      </dsp:txBody>
      <dsp:txXfrm>
        <a:off x="1296652" y="2029475"/>
        <a:ext cx="4867173" cy="554444"/>
      </dsp:txXfrm>
    </dsp:sp>
    <dsp:sp modelId="{57DAA42B-A210-C14A-B68A-AB361AC9A1BC}">
      <dsp:nvSpPr>
        <dsp:cNvPr id="0" name=""/>
        <dsp:cNvSpPr/>
      </dsp:nvSpPr>
      <dsp:spPr>
        <a:xfrm>
          <a:off x="1705869" y="2682967"/>
          <a:ext cx="5710954" cy="58894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 err="1"/>
            <a:t>Predictability</a:t>
          </a:r>
          <a:r>
            <a:rPr lang="fi-FI" sz="2600" kern="1200" dirty="0"/>
            <a:t> and </a:t>
          </a:r>
          <a:r>
            <a:rPr lang="fi-FI" sz="2600" kern="1200" dirty="0" err="1"/>
            <a:t>planning</a:t>
          </a:r>
          <a:endParaRPr lang="fi-FI" sz="2600" kern="1200" dirty="0"/>
        </a:p>
      </dsp:txBody>
      <dsp:txXfrm>
        <a:off x="1723119" y="2700217"/>
        <a:ext cx="4867173" cy="554444"/>
      </dsp:txXfrm>
    </dsp:sp>
    <dsp:sp modelId="{AD5E6EB9-5C35-1D44-9194-4B687EEEC7E6}">
      <dsp:nvSpPr>
        <dsp:cNvPr id="0" name=""/>
        <dsp:cNvSpPr/>
      </dsp:nvSpPr>
      <dsp:spPr>
        <a:xfrm>
          <a:off x="5328140" y="430256"/>
          <a:ext cx="382813" cy="382813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tint val="40000"/>
            <a:hueOff val="0"/>
            <a:satOff val="0"/>
            <a:lum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/>
        </a:p>
      </dsp:txBody>
      <dsp:txXfrm>
        <a:off x="5414273" y="430256"/>
        <a:ext cx="210547" cy="288067"/>
      </dsp:txXfrm>
    </dsp:sp>
    <dsp:sp modelId="{0F3477F2-43A5-9049-9EB0-AA6D34969FBA}">
      <dsp:nvSpPr>
        <dsp:cNvPr id="0" name=""/>
        <dsp:cNvSpPr/>
      </dsp:nvSpPr>
      <dsp:spPr>
        <a:xfrm>
          <a:off x="5754608" y="1100998"/>
          <a:ext cx="382813" cy="382813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/>
        </a:p>
      </dsp:txBody>
      <dsp:txXfrm>
        <a:off x="5840741" y="1100998"/>
        <a:ext cx="210547" cy="288067"/>
      </dsp:txXfrm>
    </dsp:sp>
    <dsp:sp modelId="{175A828D-100B-B74E-B289-7FD64681B39F}">
      <dsp:nvSpPr>
        <dsp:cNvPr id="0" name=""/>
        <dsp:cNvSpPr/>
      </dsp:nvSpPr>
      <dsp:spPr>
        <a:xfrm>
          <a:off x="6181075" y="1761924"/>
          <a:ext cx="382813" cy="382813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/>
        </a:p>
      </dsp:txBody>
      <dsp:txXfrm>
        <a:off x="6267208" y="1761924"/>
        <a:ext cx="210547" cy="288067"/>
      </dsp:txXfrm>
    </dsp:sp>
    <dsp:sp modelId="{30D902E0-7F8C-6F4A-A536-4A57329278F1}">
      <dsp:nvSpPr>
        <dsp:cNvPr id="0" name=""/>
        <dsp:cNvSpPr/>
      </dsp:nvSpPr>
      <dsp:spPr>
        <a:xfrm>
          <a:off x="6607542" y="2439210"/>
          <a:ext cx="382813" cy="382813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800" kern="1200"/>
        </a:p>
      </dsp:txBody>
      <dsp:txXfrm>
        <a:off x="6693675" y="2439210"/>
        <a:ext cx="210547" cy="28806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BFA317-86DE-DD42-A983-40F911F49BE3}">
      <dsp:nvSpPr>
        <dsp:cNvPr id="0" name=""/>
        <dsp:cNvSpPr/>
      </dsp:nvSpPr>
      <dsp:spPr>
        <a:xfrm>
          <a:off x="2583570" y="0"/>
          <a:ext cx="1722380" cy="1127682"/>
        </a:xfrm>
        <a:prstGeom prst="trapezoid">
          <a:avLst>
            <a:gd name="adj" fmla="val 76368"/>
          </a:avLst>
        </a:prstGeom>
        <a:solidFill>
          <a:schemeClr val="accent2">
            <a:lumMod val="40000"/>
            <a:lumOff val="60000"/>
          </a:schemeClr>
        </a:solidFill>
        <a:ln>
          <a:solidFill>
            <a:srgbClr val="FFC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tx1"/>
              </a:solidFill>
            </a:rPr>
            <a:t>Business domain skills</a:t>
          </a:r>
        </a:p>
      </dsp:txBody>
      <dsp:txXfrm>
        <a:off x="2583570" y="0"/>
        <a:ext cx="1722380" cy="1127682"/>
      </dsp:txXfrm>
    </dsp:sp>
    <dsp:sp modelId="{39778E95-4A8E-C849-8917-805C2DFBC78D}">
      <dsp:nvSpPr>
        <dsp:cNvPr id="0" name=""/>
        <dsp:cNvSpPr/>
      </dsp:nvSpPr>
      <dsp:spPr>
        <a:xfrm>
          <a:off x="1722380" y="1127682"/>
          <a:ext cx="3444760" cy="1127682"/>
        </a:xfrm>
        <a:prstGeom prst="trapezoid">
          <a:avLst>
            <a:gd name="adj" fmla="val 76368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tx1"/>
              </a:solidFill>
            </a:rPr>
            <a:t>Digitalization of domain skills</a:t>
          </a:r>
        </a:p>
      </dsp:txBody>
      <dsp:txXfrm>
        <a:off x="2325213" y="1127682"/>
        <a:ext cx="2239094" cy="1127682"/>
      </dsp:txXfrm>
    </dsp:sp>
    <dsp:sp modelId="{83CB0EBD-741A-434A-90EB-8E787E143DBD}">
      <dsp:nvSpPr>
        <dsp:cNvPr id="0" name=""/>
        <dsp:cNvSpPr/>
      </dsp:nvSpPr>
      <dsp:spPr>
        <a:xfrm>
          <a:off x="861190" y="2255364"/>
          <a:ext cx="5167141" cy="1127682"/>
        </a:xfrm>
        <a:prstGeom prst="trapezoid">
          <a:avLst>
            <a:gd name="adj" fmla="val 76368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tx1"/>
              </a:solidFill>
            </a:rPr>
            <a:t>Building</a:t>
          </a:r>
        </a:p>
      </dsp:txBody>
      <dsp:txXfrm>
        <a:off x="1765440" y="2255364"/>
        <a:ext cx="3358641" cy="1127682"/>
      </dsp:txXfrm>
    </dsp:sp>
    <dsp:sp modelId="{18EEB433-3C60-D744-B26E-43FFD928D5C3}">
      <dsp:nvSpPr>
        <dsp:cNvPr id="0" name=""/>
        <dsp:cNvSpPr/>
      </dsp:nvSpPr>
      <dsp:spPr>
        <a:xfrm>
          <a:off x="0" y="3383046"/>
          <a:ext cx="6889521" cy="1127682"/>
        </a:xfrm>
        <a:prstGeom prst="trapezoid">
          <a:avLst>
            <a:gd name="adj" fmla="val 76368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tx1"/>
              </a:solidFill>
            </a:rPr>
            <a:t>Integration</a:t>
          </a:r>
        </a:p>
      </dsp:txBody>
      <dsp:txXfrm>
        <a:off x="1205666" y="3383046"/>
        <a:ext cx="4478189" cy="112768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E00197-519E-124B-9B79-66EAEA9F2653}">
      <dsp:nvSpPr>
        <dsp:cNvPr id="0" name=""/>
        <dsp:cNvSpPr/>
      </dsp:nvSpPr>
      <dsp:spPr>
        <a:xfrm>
          <a:off x="2093" y="0"/>
          <a:ext cx="2054321" cy="468052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Product 1: "installed"</a:t>
          </a:r>
        </a:p>
      </dsp:txBody>
      <dsp:txXfrm>
        <a:off x="2093" y="0"/>
        <a:ext cx="2054321" cy="1404156"/>
      </dsp:txXfrm>
    </dsp:sp>
    <dsp:sp modelId="{348955D0-A1D4-6646-B4DE-D53A87AB446B}">
      <dsp:nvSpPr>
        <dsp:cNvPr id="0" name=""/>
        <dsp:cNvSpPr/>
      </dsp:nvSpPr>
      <dsp:spPr>
        <a:xfrm>
          <a:off x="207525" y="1404270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Large code base</a:t>
          </a:r>
          <a:endParaRPr lang="en-GB" sz="800" kern="1200" dirty="0"/>
        </a:p>
      </dsp:txBody>
      <dsp:txXfrm>
        <a:off x="227496" y="1424241"/>
        <a:ext cx="1603515" cy="641910"/>
      </dsp:txXfrm>
    </dsp:sp>
    <dsp:sp modelId="{82A3CD2A-5FC1-5448-927E-29951B760C26}">
      <dsp:nvSpPr>
        <dsp:cNvPr id="0" name=""/>
        <dsp:cNvSpPr/>
      </dsp:nvSpPr>
      <dsp:spPr>
        <a:xfrm>
          <a:off x="207525" y="2191022"/>
          <a:ext cx="1643457" cy="681852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New development and refactoring. Maintenance</a:t>
          </a:r>
          <a:endParaRPr lang="en-GB" sz="800" kern="1200" dirty="0"/>
        </a:p>
      </dsp:txBody>
      <dsp:txXfrm>
        <a:off x="227496" y="2210993"/>
        <a:ext cx="1603515" cy="641910"/>
      </dsp:txXfrm>
    </dsp:sp>
    <dsp:sp modelId="{3A946ED8-367E-8A47-A3D5-F7F78C8BD07F}">
      <dsp:nvSpPr>
        <dsp:cNvPr id="0" name=""/>
        <dsp:cNvSpPr/>
      </dsp:nvSpPr>
      <dsp:spPr>
        <a:xfrm>
          <a:off x="207525" y="2977775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69855"/>
                <a:satOff val="1597"/>
                <a:lumOff val="4053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69855"/>
                <a:satOff val="1597"/>
                <a:lumOff val="4053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69855"/>
                <a:satOff val="1597"/>
                <a:lumOff val="4053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Mostly server code – Java &amp; friends</a:t>
          </a:r>
          <a:endParaRPr lang="en-GB" sz="800" kern="1200" dirty="0"/>
        </a:p>
      </dsp:txBody>
      <dsp:txXfrm>
        <a:off x="227496" y="2997746"/>
        <a:ext cx="1603515" cy="641910"/>
      </dsp:txXfrm>
    </dsp:sp>
    <dsp:sp modelId="{012AD63D-DE13-944F-BB20-AE36A7861ADD}">
      <dsp:nvSpPr>
        <dsp:cNvPr id="0" name=""/>
        <dsp:cNvSpPr/>
      </dsp:nvSpPr>
      <dsp:spPr>
        <a:xfrm>
          <a:off x="207525" y="3764527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104783"/>
                <a:satOff val="2396"/>
                <a:lumOff val="6080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104783"/>
                <a:satOff val="2396"/>
                <a:lumOff val="6080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104783"/>
                <a:satOff val="2396"/>
                <a:lumOff val="608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Dozens of scrum teams. Multiple countries, multiple locations</a:t>
          </a:r>
          <a:endParaRPr lang="en-GB" sz="800" kern="1200" dirty="0"/>
        </a:p>
      </dsp:txBody>
      <dsp:txXfrm>
        <a:off x="227496" y="3784498"/>
        <a:ext cx="1603515" cy="641910"/>
      </dsp:txXfrm>
    </dsp:sp>
    <dsp:sp modelId="{C3F1AE5B-277D-6B48-B0A7-7E32285D3943}">
      <dsp:nvSpPr>
        <dsp:cNvPr id="0" name=""/>
        <dsp:cNvSpPr/>
      </dsp:nvSpPr>
      <dsp:spPr>
        <a:xfrm>
          <a:off x="2210489" y="0"/>
          <a:ext cx="2054321" cy="468052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Product 2: "embedded"</a:t>
          </a:r>
        </a:p>
      </dsp:txBody>
      <dsp:txXfrm>
        <a:off x="2210489" y="0"/>
        <a:ext cx="2054321" cy="1404156"/>
      </dsp:txXfrm>
    </dsp:sp>
    <dsp:sp modelId="{115A80D9-88D6-3149-9999-B17034930169}">
      <dsp:nvSpPr>
        <dsp:cNvPr id="0" name=""/>
        <dsp:cNvSpPr/>
      </dsp:nvSpPr>
      <dsp:spPr>
        <a:xfrm>
          <a:off x="2415921" y="1404270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139711"/>
                <a:satOff val="3195"/>
                <a:lumOff val="8106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139711"/>
                <a:satOff val="3195"/>
                <a:lumOff val="8106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139711"/>
                <a:satOff val="3195"/>
                <a:lumOff val="8106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Extremely large code base – open source contribution &amp; development – basically a Linux distro + applications</a:t>
          </a:r>
        </a:p>
      </dsp:txBody>
      <dsp:txXfrm>
        <a:off x="2435892" y="1424241"/>
        <a:ext cx="1603515" cy="641910"/>
      </dsp:txXfrm>
    </dsp:sp>
    <dsp:sp modelId="{1AEB4F43-4BC2-0841-9C09-FC0E68058830}">
      <dsp:nvSpPr>
        <dsp:cNvPr id="0" name=""/>
        <dsp:cNvSpPr/>
      </dsp:nvSpPr>
      <dsp:spPr>
        <a:xfrm>
          <a:off x="2415921" y="2191022"/>
          <a:ext cx="1643457" cy="681852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New development + hardware development</a:t>
          </a:r>
          <a:endParaRPr lang="en-US" sz="800" kern="1200" dirty="0"/>
        </a:p>
      </dsp:txBody>
      <dsp:txXfrm>
        <a:off x="2435892" y="2210993"/>
        <a:ext cx="1603515" cy="641910"/>
      </dsp:txXfrm>
    </dsp:sp>
    <dsp:sp modelId="{64EA18B7-E0AE-6B42-B343-06BE17BF4A41}">
      <dsp:nvSpPr>
        <dsp:cNvPr id="0" name=""/>
        <dsp:cNvSpPr/>
      </dsp:nvSpPr>
      <dsp:spPr>
        <a:xfrm>
          <a:off x="2415921" y="2977775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209566"/>
                <a:satOff val="4792"/>
                <a:lumOff val="12159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209566"/>
                <a:satOff val="4792"/>
                <a:lumOff val="12159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209566"/>
                <a:satOff val="4792"/>
                <a:lumOff val="12159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Embedded code C++</a:t>
          </a:r>
        </a:p>
      </dsp:txBody>
      <dsp:txXfrm>
        <a:off x="2435892" y="2997746"/>
        <a:ext cx="1603515" cy="641910"/>
      </dsp:txXfrm>
    </dsp:sp>
    <dsp:sp modelId="{22B91A62-1418-A745-A92B-A7C2CBCBACF1}">
      <dsp:nvSpPr>
        <dsp:cNvPr id="0" name=""/>
        <dsp:cNvSpPr/>
      </dsp:nvSpPr>
      <dsp:spPr>
        <a:xfrm>
          <a:off x="2415921" y="3764527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244494"/>
                <a:satOff val="5591"/>
                <a:lumOff val="14186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244494"/>
                <a:satOff val="5591"/>
                <a:lumOff val="14186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244494"/>
                <a:satOff val="5591"/>
                <a:lumOff val="14186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Many dozens of scrum teams. Multiple countries, multiple locations</a:t>
          </a:r>
          <a:endParaRPr lang="fi-FI" sz="800" kern="1200" dirty="0"/>
        </a:p>
      </dsp:txBody>
      <dsp:txXfrm>
        <a:off x="2435892" y="3784498"/>
        <a:ext cx="1603515" cy="641910"/>
      </dsp:txXfrm>
    </dsp:sp>
    <dsp:sp modelId="{773FF0C7-3827-AB41-A105-50F56A636BDA}">
      <dsp:nvSpPr>
        <dsp:cNvPr id="0" name=""/>
        <dsp:cNvSpPr/>
      </dsp:nvSpPr>
      <dsp:spPr>
        <a:xfrm>
          <a:off x="4418885" y="0"/>
          <a:ext cx="2054321" cy="468052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500" kern="1200" dirty="0"/>
            <a:t>Product 3: "</a:t>
          </a:r>
          <a:r>
            <a:rPr lang="fi-FI" sz="1500" kern="1200" dirty="0" err="1"/>
            <a:t>web</a:t>
          </a:r>
          <a:r>
            <a:rPr lang="fi-FI" sz="1500" kern="1200" dirty="0"/>
            <a:t>/mobile/hardware  - </a:t>
          </a:r>
          <a:r>
            <a:rPr lang="fi-FI" sz="1500" kern="1200" dirty="0" err="1"/>
            <a:t>cloud</a:t>
          </a:r>
          <a:r>
            <a:rPr lang="fi-FI" sz="1500" kern="1200" dirty="0"/>
            <a:t>"</a:t>
          </a:r>
        </a:p>
      </dsp:txBody>
      <dsp:txXfrm>
        <a:off x="4418885" y="0"/>
        <a:ext cx="2054321" cy="1404156"/>
      </dsp:txXfrm>
    </dsp:sp>
    <dsp:sp modelId="{0FF79056-14E4-EF45-A753-00CDFE48E55E}">
      <dsp:nvSpPr>
        <dsp:cNvPr id="0" name=""/>
        <dsp:cNvSpPr/>
      </dsp:nvSpPr>
      <dsp:spPr>
        <a:xfrm>
          <a:off x="4624317" y="1404270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279421"/>
                <a:satOff val="6390"/>
                <a:lumOff val="16212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279421"/>
                <a:satOff val="6390"/>
                <a:lumOff val="16212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279421"/>
                <a:satOff val="6390"/>
                <a:lumOff val="16212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Compact code base. Hardware development</a:t>
          </a:r>
        </a:p>
      </dsp:txBody>
      <dsp:txXfrm>
        <a:off x="4644288" y="1424241"/>
        <a:ext cx="1603515" cy="641910"/>
      </dsp:txXfrm>
    </dsp:sp>
    <dsp:sp modelId="{F72FC7F7-6216-A947-802B-C0EBF8C25B7C}">
      <dsp:nvSpPr>
        <dsp:cNvPr id="0" name=""/>
        <dsp:cNvSpPr/>
      </dsp:nvSpPr>
      <dsp:spPr>
        <a:xfrm>
          <a:off x="4624317" y="2191022"/>
          <a:ext cx="1643457" cy="681852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Refactoring in the large + applied research and new development</a:t>
          </a:r>
        </a:p>
      </dsp:txBody>
      <dsp:txXfrm>
        <a:off x="4644288" y="2210993"/>
        <a:ext cx="1603515" cy="641910"/>
      </dsp:txXfrm>
    </dsp:sp>
    <dsp:sp modelId="{C0C78F72-3D6B-D746-B992-1791D0C3B2AB}">
      <dsp:nvSpPr>
        <dsp:cNvPr id="0" name=""/>
        <dsp:cNvSpPr/>
      </dsp:nvSpPr>
      <dsp:spPr>
        <a:xfrm>
          <a:off x="4624317" y="2977775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349277"/>
                <a:satOff val="7987"/>
                <a:lumOff val="20265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349277"/>
                <a:satOff val="7987"/>
                <a:lumOff val="20265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349277"/>
                <a:satOff val="7987"/>
                <a:lumOff val="20265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Java, JavaScript, C++, HTML5 – multiple phone OS, multiple browsers</a:t>
          </a:r>
        </a:p>
      </dsp:txBody>
      <dsp:txXfrm>
        <a:off x="4644288" y="2997746"/>
        <a:ext cx="1603515" cy="641910"/>
      </dsp:txXfrm>
    </dsp:sp>
    <dsp:sp modelId="{DCE34FBB-5A10-0746-B9F4-CFC35BE3C26D}">
      <dsp:nvSpPr>
        <dsp:cNvPr id="0" name=""/>
        <dsp:cNvSpPr/>
      </dsp:nvSpPr>
      <dsp:spPr>
        <a:xfrm>
          <a:off x="4624317" y="3764527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384204"/>
                <a:satOff val="8786"/>
                <a:lumOff val="22292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384204"/>
                <a:satOff val="8786"/>
                <a:lumOff val="22292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384204"/>
                <a:satOff val="8786"/>
                <a:lumOff val="22292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9-10 scrum teams.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Multiple countries, multiple locations </a:t>
          </a:r>
        </a:p>
      </dsp:txBody>
      <dsp:txXfrm>
        <a:off x="4644288" y="3784498"/>
        <a:ext cx="1603515" cy="641910"/>
      </dsp:txXfrm>
    </dsp:sp>
    <dsp:sp modelId="{B8BC965D-B4B7-7B4F-A901-5ED6CE61F705}">
      <dsp:nvSpPr>
        <dsp:cNvPr id="0" name=""/>
        <dsp:cNvSpPr/>
      </dsp:nvSpPr>
      <dsp:spPr>
        <a:xfrm>
          <a:off x="6627281" y="0"/>
          <a:ext cx="2054321" cy="468052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roduct 4: SaaS / Cloud</a:t>
          </a:r>
          <a:endParaRPr lang="fi-FI" sz="1500" kern="1200" dirty="0"/>
        </a:p>
      </dsp:txBody>
      <dsp:txXfrm>
        <a:off x="6627281" y="0"/>
        <a:ext cx="2054321" cy="1404156"/>
      </dsp:txXfrm>
    </dsp:sp>
    <dsp:sp modelId="{1D21091C-C7E1-184E-AD00-EBDC7E4EB08F}">
      <dsp:nvSpPr>
        <dsp:cNvPr id="0" name=""/>
        <dsp:cNvSpPr/>
      </dsp:nvSpPr>
      <dsp:spPr>
        <a:xfrm>
          <a:off x="6832713" y="1404270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419132"/>
                <a:satOff val="9585"/>
                <a:lumOff val="24318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419132"/>
                <a:satOff val="9585"/>
                <a:lumOff val="24318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419132"/>
                <a:satOff val="9585"/>
                <a:lumOff val="2431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Multiple old code bases and a new one.</a:t>
          </a:r>
        </a:p>
      </dsp:txBody>
      <dsp:txXfrm>
        <a:off x="6852684" y="1424241"/>
        <a:ext cx="1603515" cy="641910"/>
      </dsp:txXfrm>
    </dsp:sp>
    <dsp:sp modelId="{14FB9139-326B-F544-8B40-6052B47B96EE}">
      <dsp:nvSpPr>
        <dsp:cNvPr id="0" name=""/>
        <dsp:cNvSpPr/>
      </dsp:nvSpPr>
      <dsp:spPr>
        <a:xfrm>
          <a:off x="6832713" y="2191022"/>
          <a:ext cx="1643457" cy="681852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Refactoring in the large, new development + maintenance</a:t>
          </a:r>
          <a:endParaRPr lang="en-US" sz="800" kern="1200" dirty="0"/>
        </a:p>
      </dsp:txBody>
      <dsp:txXfrm>
        <a:off x="6852684" y="2210993"/>
        <a:ext cx="1603515" cy="641910"/>
      </dsp:txXfrm>
    </dsp:sp>
    <dsp:sp modelId="{A7210346-3BFD-F64E-AF04-21A867F3BA81}">
      <dsp:nvSpPr>
        <dsp:cNvPr id="0" name=""/>
        <dsp:cNvSpPr/>
      </dsp:nvSpPr>
      <dsp:spPr>
        <a:xfrm>
          <a:off x="6832713" y="2977775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488987"/>
                <a:satOff val="11182"/>
                <a:lumOff val="28371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488987"/>
                <a:satOff val="11182"/>
                <a:lumOff val="28371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488987"/>
                <a:satOff val="11182"/>
                <a:lumOff val="2837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Java, Scala, JavaScript, HTML5. Mostly server code. Multiple databases (SQL, NoSQL). </a:t>
          </a:r>
          <a:br>
            <a:rPr lang="en-US" sz="800" kern="1200" dirty="0"/>
          </a:br>
          <a:r>
            <a:rPr lang="en-US" sz="800" kern="1200" dirty="0"/>
            <a:t>For all new development : startup stack</a:t>
          </a:r>
        </a:p>
      </dsp:txBody>
      <dsp:txXfrm>
        <a:off x="6852684" y="2997746"/>
        <a:ext cx="1603515" cy="641910"/>
      </dsp:txXfrm>
    </dsp:sp>
    <dsp:sp modelId="{0C416DF8-59B8-4643-94CA-46A6F881C374}">
      <dsp:nvSpPr>
        <dsp:cNvPr id="0" name=""/>
        <dsp:cNvSpPr/>
      </dsp:nvSpPr>
      <dsp:spPr>
        <a:xfrm>
          <a:off x="6832713" y="3764527"/>
          <a:ext cx="1643457" cy="68185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-523915"/>
                <a:satOff val="11981"/>
                <a:lumOff val="30398"/>
                <a:alphaOff val="0"/>
                <a:tint val="50000"/>
                <a:satMod val="300000"/>
              </a:schemeClr>
            </a:gs>
            <a:gs pos="35000">
              <a:schemeClr val="accent2">
                <a:shade val="80000"/>
                <a:hueOff val="-523915"/>
                <a:satOff val="11981"/>
                <a:lumOff val="30398"/>
                <a:alphaOff val="0"/>
                <a:tint val="37000"/>
                <a:satMod val="300000"/>
              </a:schemeClr>
            </a:gs>
            <a:gs pos="100000">
              <a:schemeClr val="accent2">
                <a:shade val="80000"/>
                <a:hueOff val="-523915"/>
                <a:satOff val="11981"/>
                <a:lumOff val="3039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Between 10-20 scrum teams. Multiple countries, multiple locations </a:t>
          </a:r>
        </a:p>
      </dsp:txBody>
      <dsp:txXfrm>
        <a:off x="6852684" y="3784498"/>
        <a:ext cx="1603515" cy="64191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AC09EE-0AA2-8349-BB68-3F49C419B394}">
      <dsp:nvSpPr>
        <dsp:cNvPr id="0" name=""/>
        <dsp:cNvSpPr/>
      </dsp:nvSpPr>
      <dsp:spPr>
        <a:xfrm>
          <a:off x="3178769" y="23862"/>
          <a:ext cx="791700" cy="791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Set goal  </a:t>
          </a:r>
          <a:endParaRPr lang="en-US" sz="1100" kern="1200" dirty="0"/>
        </a:p>
      </dsp:txBody>
      <dsp:txXfrm>
        <a:off x="3178769" y="23862"/>
        <a:ext cx="791700" cy="791700"/>
      </dsp:txXfrm>
    </dsp:sp>
    <dsp:sp modelId="{C7A686BF-969F-D84A-98CF-EEC41643927C}">
      <dsp:nvSpPr>
        <dsp:cNvPr id="0" name=""/>
        <dsp:cNvSpPr/>
      </dsp:nvSpPr>
      <dsp:spPr>
        <a:xfrm>
          <a:off x="1315837" y="890"/>
          <a:ext cx="2969025" cy="2969025"/>
        </a:xfrm>
        <a:prstGeom prst="circularArrow">
          <a:avLst>
            <a:gd name="adj1" fmla="val 5200"/>
            <a:gd name="adj2" fmla="val 335883"/>
            <a:gd name="adj3" fmla="val 21293366"/>
            <a:gd name="adj4" fmla="val 19766130"/>
            <a:gd name="adj5" fmla="val 606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2E27F3B-E02C-EB46-BE7B-7D8037EE949A}">
      <dsp:nvSpPr>
        <dsp:cNvPr id="0" name=""/>
        <dsp:cNvSpPr/>
      </dsp:nvSpPr>
      <dsp:spPr>
        <a:xfrm>
          <a:off x="3657294" y="1496610"/>
          <a:ext cx="791700" cy="791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Instrument</a:t>
          </a:r>
          <a:endParaRPr lang="en-US" sz="1100" kern="1200" dirty="0"/>
        </a:p>
      </dsp:txBody>
      <dsp:txXfrm>
        <a:off x="3657294" y="1496610"/>
        <a:ext cx="791700" cy="791700"/>
      </dsp:txXfrm>
    </dsp:sp>
    <dsp:sp modelId="{55321DC4-D959-3448-BAD4-7BF9C8EEBC58}">
      <dsp:nvSpPr>
        <dsp:cNvPr id="0" name=""/>
        <dsp:cNvSpPr/>
      </dsp:nvSpPr>
      <dsp:spPr>
        <a:xfrm>
          <a:off x="1315837" y="890"/>
          <a:ext cx="2969025" cy="2969025"/>
        </a:xfrm>
        <a:prstGeom prst="circularArrow">
          <a:avLst>
            <a:gd name="adj1" fmla="val 5200"/>
            <a:gd name="adj2" fmla="val 335883"/>
            <a:gd name="adj3" fmla="val 4014827"/>
            <a:gd name="adj4" fmla="val 2253314"/>
            <a:gd name="adj5" fmla="val 606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6BA9A1D-6BF4-9847-B4C4-C9E84E8E6578}">
      <dsp:nvSpPr>
        <dsp:cNvPr id="0" name=""/>
        <dsp:cNvSpPr/>
      </dsp:nvSpPr>
      <dsp:spPr>
        <a:xfrm>
          <a:off x="2404499" y="2406819"/>
          <a:ext cx="791700" cy="791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Make visible </a:t>
          </a:r>
          <a:endParaRPr lang="en-US" sz="1100" kern="1200" dirty="0"/>
        </a:p>
      </dsp:txBody>
      <dsp:txXfrm>
        <a:off x="2404499" y="2406819"/>
        <a:ext cx="791700" cy="791700"/>
      </dsp:txXfrm>
    </dsp:sp>
    <dsp:sp modelId="{F1083FAF-2DAD-5348-9DEB-99EB66042414}">
      <dsp:nvSpPr>
        <dsp:cNvPr id="0" name=""/>
        <dsp:cNvSpPr/>
      </dsp:nvSpPr>
      <dsp:spPr>
        <a:xfrm>
          <a:off x="1315837" y="890"/>
          <a:ext cx="2969025" cy="2969025"/>
        </a:xfrm>
        <a:prstGeom prst="circularArrow">
          <a:avLst>
            <a:gd name="adj1" fmla="val 5200"/>
            <a:gd name="adj2" fmla="val 335883"/>
            <a:gd name="adj3" fmla="val 8210803"/>
            <a:gd name="adj4" fmla="val 6449290"/>
            <a:gd name="adj5" fmla="val 606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F2B3AD-23D2-7E4A-9FB7-7D9F03076534}">
      <dsp:nvSpPr>
        <dsp:cNvPr id="0" name=""/>
        <dsp:cNvSpPr/>
      </dsp:nvSpPr>
      <dsp:spPr>
        <a:xfrm>
          <a:off x="1151705" y="1496610"/>
          <a:ext cx="791700" cy="791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Monitor &amp; feedback</a:t>
          </a:r>
          <a:endParaRPr lang="en-US" sz="1100" kern="1200" dirty="0"/>
        </a:p>
      </dsp:txBody>
      <dsp:txXfrm>
        <a:off x="1151705" y="1496610"/>
        <a:ext cx="791700" cy="791700"/>
      </dsp:txXfrm>
    </dsp:sp>
    <dsp:sp modelId="{B3B22546-B808-6044-854E-F4B6FD495970}">
      <dsp:nvSpPr>
        <dsp:cNvPr id="0" name=""/>
        <dsp:cNvSpPr/>
      </dsp:nvSpPr>
      <dsp:spPr>
        <a:xfrm>
          <a:off x="1315837" y="890"/>
          <a:ext cx="2969025" cy="2969025"/>
        </a:xfrm>
        <a:prstGeom prst="circularArrow">
          <a:avLst>
            <a:gd name="adj1" fmla="val 5200"/>
            <a:gd name="adj2" fmla="val 335883"/>
            <a:gd name="adj3" fmla="val 12297988"/>
            <a:gd name="adj4" fmla="val 10770751"/>
            <a:gd name="adj5" fmla="val 606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95275CB-5908-244D-B1D0-02E2B1FDB1FA}">
      <dsp:nvSpPr>
        <dsp:cNvPr id="0" name=""/>
        <dsp:cNvSpPr/>
      </dsp:nvSpPr>
      <dsp:spPr>
        <a:xfrm>
          <a:off x="1630230" y="23862"/>
          <a:ext cx="791700" cy="791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Tune</a:t>
          </a:r>
        </a:p>
      </dsp:txBody>
      <dsp:txXfrm>
        <a:off x="1630230" y="23862"/>
        <a:ext cx="791700" cy="791700"/>
      </dsp:txXfrm>
    </dsp:sp>
    <dsp:sp modelId="{6791CA34-E088-7240-9BF3-FC491CBDCE54}">
      <dsp:nvSpPr>
        <dsp:cNvPr id="0" name=""/>
        <dsp:cNvSpPr/>
      </dsp:nvSpPr>
      <dsp:spPr>
        <a:xfrm>
          <a:off x="1315837" y="890"/>
          <a:ext cx="2969025" cy="2969025"/>
        </a:xfrm>
        <a:prstGeom prst="circularArrow">
          <a:avLst>
            <a:gd name="adj1" fmla="val 5200"/>
            <a:gd name="adj2" fmla="val 335883"/>
            <a:gd name="adj3" fmla="val 16865815"/>
            <a:gd name="adj4" fmla="val 15198302"/>
            <a:gd name="adj5" fmla="val 606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264DEB-BF6A-E54F-BEF0-A3464954570E}">
      <dsp:nvSpPr>
        <dsp:cNvPr id="0" name=""/>
        <dsp:cNvSpPr/>
      </dsp:nvSpPr>
      <dsp:spPr>
        <a:xfrm>
          <a:off x="1079014" y="210097"/>
          <a:ext cx="2893149" cy="2893149"/>
        </a:xfrm>
        <a:prstGeom prst="pie">
          <a:avLst>
            <a:gd name="adj1" fmla="val 16200000"/>
            <a:gd name="adj2" fmla="val 19285716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Partially done work</a:t>
          </a:r>
        </a:p>
      </dsp:txBody>
      <dsp:txXfrm>
        <a:off x="2598951" y="478747"/>
        <a:ext cx="688845" cy="551076"/>
      </dsp:txXfrm>
    </dsp:sp>
    <dsp:sp modelId="{BDE5AD4E-B09C-DA43-8F30-95469A7C71C4}">
      <dsp:nvSpPr>
        <dsp:cNvPr id="0" name=""/>
        <dsp:cNvSpPr/>
      </dsp:nvSpPr>
      <dsp:spPr>
        <a:xfrm>
          <a:off x="1116212" y="256594"/>
          <a:ext cx="2893149" cy="2893149"/>
        </a:xfrm>
        <a:prstGeom prst="pie">
          <a:avLst>
            <a:gd name="adj1" fmla="val 19285716"/>
            <a:gd name="adj2" fmla="val 771428"/>
          </a:avLst>
        </a:prstGeom>
        <a:solidFill>
          <a:schemeClr val="accent6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solidFill>
                <a:schemeClr val="tx2"/>
              </a:solidFill>
            </a:rPr>
            <a:t>Extra Features</a:t>
          </a:r>
        </a:p>
      </dsp:txBody>
      <dsp:txXfrm>
        <a:off x="3081142" y="1305361"/>
        <a:ext cx="792171" cy="482191"/>
      </dsp:txXfrm>
    </dsp:sp>
    <dsp:sp modelId="{06D17E4E-03DC-EB45-B9D1-87E3FBAF272B}">
      <dsp:nvSpPr>
        <dsp:cNvPr id="0" name=""/>
        <dsp:cNvSpPr/>
      </dsp:nvSpPr>
      <dsp:spPr>
        <a:xfrm>
          <a:off x="1102779" y="315146"/>
          <a:ext cx="2893149" cy="2893149"/>
        </a:xfrm>
        <a:prstGeom prst="pie">
          <a:avLst>
            <a:gd name="adj1" fmla="val 771428"/>
            <a:gd name="adj2" fmla="val 3857143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Relearning</a:t>
          </a:r>
        </a:p>
      </dsp:txBody>
      <dsp:txXfrm>
        <a:off x="2960594" y="2028648"/>
        <a:ext cx="688845" cy="533854"/>
      </dsp:txXfrm>
    </dsp:sp>
    <dsp:sp modelId="{6CD63930-3E0A-8D48-AF9C-B997296EB218}">
      <dsp:nvSpPr>
        <dsp:cNvPr id="0" name=""/>
        <dsp:cNvSpPr/>
      </dsp:nvSpPr>
      <dsp:spPr>
        <a:xfrm>
          <a:off x="1049050" y="340978"/>
          <a:ext cx="2893149" cy="2893149"/>
        </a:xfrm>
        <a:prstGeom prst="pie">
          <a:avLst>
            <a:gd name="adj1" fmla="val 3857226"/>
            <a:gd name="adj2" fmla="val 6942858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Handoffs</a:t>
          </a:r>
        </a:p>
      </dsp:txBody>
      <dsp:txXfrm>
        <a:off x="2159812" y="2614166"/>
        <a:ext cx="671623" cy="482191"/>
      </dsp:txXfrm>
    </dsp:sp>
    <dsp:sp modelId="{E579F98C-E3A4-334A-AE7D-2844193EC805}">
      <dsp:nvSpPr>
        <dsp:cNvPr id="0" name=""/>
        <dsp:cNvSpPr/>
      </dsp:nvSpPr>
      <dsp:spPr>
        <a:xfrm>
          <a:off x="995320" y="315146"/>
          <a:ext cx="2893149" cy="2893149"/>
        </a:xfrm>
        <a:prstGeom prst="pie">
          <a:avLst>
            <a:gd name="adj1" fmla="val 6942858"/>
            <a:gd name="adj2" fmla="val 10028574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Delays</a:t>
          </a:r>
        </a:p>
      </dsp:txBody>
      <dsp:txXfrm>
        <a:off x="1341809" y="2028648"/>
        <a:ext cx="688845" cy="533854"/>
      </dsp:txXfrm>
    </dsp:sp>
    <dsp:sp modelId="{D6E9A35F-68FF-5948-801C-E018692E39A9}">
      <dsp:nvSpPr>
        <dsp:cNvPr id="0" name=""/>
        <dsp:cNvSpPr/>
      </dsp:nvSpPr>
      <dsp:spPr>
        <a:xfrm>
          <a:off x="981887" y="256594"/>
          <a:ext cx="2893149" cy="2893149"/>
        </a:xfrm>
        <a:prstGeom prst="pie">
          <a:avLst>
            <a:gd name="adj1" fmla="val 10028574"/>
            <a:gd name="adj2" fmla="val 13114284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Task Switching</a:t>
          </a:r>
        </a:p>
      </dsp:txBody>
      <dsp:txXfrm>
        <a:off x="1117934" y="1305361"/>
        <a:ext cx="792171" cy="482191"/>
      </dsp:txXfrm>
    </dsp:sp>
    <dsp:sp modelId="{381E0CD8-8FDA-6949-A308-24E43BCD6CAF}">
      <dsp:nvSpPr>
        <dsp:cNvPr id="0" name=""/>
        <dsp:cNvSpPr/>
      </dsp:nvSpPr>
      <dsp:spPr>
        <a:xfrm>
          <a:off x="1019085" y="210097"/>
          <a:ext cx="2893149" cy="2893149"/>
        </a:xfrm>
        <a:prstGeom prst="pie">
          <a:avLst>
            <a:gd name="adj1" fmla="val 13114284"/>
            <a:gd name="adj2" fmla="val 1620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Defects</a:t>
          </a:r>
        </a:p>
      </dsp:txBody>
      <dsp:txXfrm>
        <a:off x="1703452" y="478747"/>
        <a:ext cx="688845" cy="551076"/>
      </dsp:txXfrm>
    </dsp:sp>
    <dsp:sp modelId="{0E410306-8697-8040-A949-AFF14AEE0415}">
      <dsp:nvSpPr>
        <dsp:cNvPr id="0" name=""/>
        <dsp:cNvSpPr/>
      </dsp:nvSpPr>
      <dsp:spPr>
        <a:xfrm>
          <a:off x="899770" y="30998"/>
          <a:ext cx="3251348" cy="3251348"/>
        </a:xfrm>
        <a:prstGeom prst="circularArrow">
          <a:avLst>
            <a:gd name="adj1" fmla="val 5085"/>
            <a:gd name="adj2" fmla="val 327528"/>
            <a:gd name="adj3" fmla="val 18957827"/>
            <a:gd name="adj4" fmla="val 16200343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B950C9C-6D2D-4B48-88B9-6F27BBFEBB3B}">
      <dsp:nvSpPr>
        <dsp:cNvPr id="0" name=""/>
        <dsp:cNvSpPr/>
      </dsp:nvSpPr>
      <dsp:spPr>
        <a:xfrm>
          <a:off x="937202" y="77700"/>
          <a:ext cx="3251348" cy="3251348"/>
        </a:xfrm>
        <a:prstGeom prst="circularArrow">
          <a:avLst>
            <a:gd name="adj1" fmla="val 5085"/>
            <a:gd name="adj2" fmla="val 327528"/>
            <a:gd name="adj3" fmla="val 443744"/>
            <a:gd name="adj4" fmla="val 19285776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46965AA-AAEC-F441-A724-3D7775C6B53B}">
      <dsp:nvSpPr>
        <dsp:cNvPr id="0" name=""/>
        <dsp:cNvSpPr/>
      </dsp:nvSpPr>
      <dsp:spPr>
        <a:xfrm>
          <a:off x="923722" y="136116"/>
          <a:ext cx="3251348" cy="3251348"/>
        </a:xfrm>
        <a:prstGeom prst="circularArrow">
          <a:avLst>
            <a:gd name="adj1" fmla="val 5085"/>
            <a:gd name="adj2" fmla="val 327528"/>
            <a:gd name="adj3" fmla="val 3529100"/>
            <a:gd name="adj4" fmla="val 770764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DFA820-709B-854A-9643-3D39DA0E02B9}">
      <dsp:nvSpPr>
        <dsp:cNvPr id="0" name=""/>
        <dsp:cNvSpPr/>
      </dsp:nvSpPr>
      <dsp:spPr>
        <a:xfrm>
          <a:off x="869950" y="161803"/>
          <a:ext cx="3251348" cy="3251348"/>
        </a:xfrm>
        <a:prstGeom prst="circularArrow">
          <a:avLst>
            <a:gd name="adj1" fmla="val 5085"/>
            <a:gd name="adj2" fmla="val 327528"/>
            <a:gd name="adj3" fmla="val 6615046"/>
            <a:gd name="adj4" fmla="val 3857426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2276E3A-F06B-504A-8D9C-5BD2D1148BCB}">
      <dsp:nvSpPr>
        <dsp:cNvPr id="0" name=""/>
        <dsp:cNvSpPr/>
      </dsp:nvSpPr>
      <dsp:spPr>
        <a:xfrm>
          <a:off x="816178" y="136116"/>
          <a:ext cx="3251348" cy="3251348"/>
        </a:xfrm>
        <a:prstGeom prst="circularArrow">
          <a:avLst>
            <a:gd name="adj1" fmla="val 5085"/>
            <a:gd name="adj2" fmla="val 327528"/>
            <a:gd name="adj3" fmla="val 9701707"/>
            <a:gd name="adj4" fmla="val 6943371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94B48A5-0372-4D4C-AFDF-F8592B6F11AD}">
      <dsp:nvSpPr>
        <dsp:cNvPr id="0" name=""/>
        <dsp:cNvSpPr/>
      </dsp:nvSpPr>
      <dsp:spPr>
        <a:xfrm>
          <a:off x="802698" y="77700"/>
          <a:ext cx="3251348" cy="3251348"/>
        </a:xfrm>
        <a:prstGeom prst="circularArrow">
          <a:avLst>
            <a:gd name="adj1" fmla="val 5085"/>
            <a:gd name="adj2" fmla="val 327528"/>
            <a:gd name="adj3" fmla="val 12786695"/>
            <a:gd name="adj4" fmla="val 10028727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AB836DC-4E57-FD48-809C-9F96C173C668}">
      <dsp:nvSpPr>
        <dsp:cNvPr id="0" name=""/>
        <dsp:cNvSpPr/>
      </dsp:nvSpPr>
      <dsp:spPr>
        <a:xfrm>
          <a:off x="840129" y="30998"/>
          <a:ext cx="3251348" cy="3251348"/>
        </a:xfrm>
        <a:prstGeom prst="circularArrow">
          <a:avLst>
            <a:gd name="adj1" fmla="val 5085"/>
            <a:gd name="adj2" fmla="val 327528"/>
            <a:gd name="adj3" fmla="val 15872129"/>
            <a:gd name="adj4" fmla="val 13114645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BEBD02-5157-400D-829A-C7C046F3E91E}" type="datetimeFigureOut">
              <a:rPr lang="fi-FI" smtClean="0"/>
              <a:pPr/>
              <a:t>9.12.2019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872BC7-5140-4C52-B7E0-B1225689ECB3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768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A9D2B110-0DFB-4E9F-A5F2-9F423D81D8F0}" type="datetimeFigureOut">
              <a:rPr lang="fi-FI" smtClean="0"/>
              <a:pPr/>
              <a:t>9.12.2019</a:t>
            </a:fld>
            <a:endParaRPr lang="fi-FI" dirty="0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 dirty="0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13583276-A66B-41D3-A762-82EBA4A52F4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634143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ln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i-FI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713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42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i-FI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2078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ln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i-FI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387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2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i-FI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16500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995A72-1CCC-6144-8ABD-3AD2C15A4618}" type="slidenum">
              <a:rPr lang="uk-UA" smtClean="0"/>
              <a:t>4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75743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" preserve="1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0" y="2743200"/>
            <a:ext cx="8510400" cy="1296000"/>
          </a:xfrm>
        </p:spPr>
        <p:txBody>
          <a:bodyPr lIns="0" tIns="90000" rIns="25200" bIns="0" anchor="b" anchorCtr="0">
            <a:noAutofit/>
          </a:bodyPr>
          <a:lstStyle>
            <a:lvl1pPr algn="ctr">
              <a:defRPr sz="3600" b="0">
                <a:solidFill>
                  <a:srgbClr val="0019A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1559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Authors</a:t>
            </a:r>
          </a:p>
        </p:txBody>
      </p:sp>
    </p:spTree>
    <p:extLst>
      <p:ext uri="{BB962C8B-B14F-4D97-AF65-F5344CB8AC3E}">
        <p14:creationId xmlns:p14="http://schemas.microsoft.com/office/powerpoint/2010/main" val="7391943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73A15-C721-F443-8AC0-CA3F30BAF7BE}" type="datetimeFigureOut">
              <a:rPr lang="en-US" smtClean="0"/>
              <a:t>12/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1B4AC3-469B-7D48-9A02-2208D4961C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583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sisältö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240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>
          <a:xfrm>
            <a:off x="338400" y="4803998"/>
            <a:ext cx="2145368" cy="3395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0452196-68D6-E342-AEB5-3DBFE78329EE}" type="slidenum">
              <a:rPr lang="fi-FI" smtClean="0"/>
              <a:pPr/>
              <a:t>‹#›</a:t>
            </a:fld>
            <a:r>
              <a:rPr lang="fi-FI" dirty="0"/>
              <a:t> </a:t>
            </a:r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3681193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ksi sisältökohdetta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11317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ain otsikko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225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yhjä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75639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16800" y="1314000"/>
            <a:ext cx="41400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314000"/>
            <a:ext cx="41400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3442080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 slide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plash_end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11760" y="3939902"/>
            <a:ext cx="4320480" cy="954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85751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 Elisa text">
  <p:cSld name="Blank Elis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77219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BD0489-9899-49F9-9209-7ED4E652D6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BD0489-9899-49F9-9209-7ED4E652D6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D1E0028-D7F6-4DC4-A23D-43608EAC15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2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Otsikon paikkamerkki 1">
            <a:extLst>
              <a:ext uri="{FF2B5EF4-FFF2-40B4-BE49-F238E27FC236}">
                <a16:creationId xmlns:a16="http://schemas.microsoft.com/office/drawing/2014/main" id="{7164E868-554A-494A-9D34-B45BB2F82F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00" y="290286"/>
            <a:ext cx="8510400" cy="685314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en-GB" err="1"/>
              <a:t>Muokkaa</a:t>
            </a:r>
            <a:r>
              <a:rPr lang="en-GB"/>
              <a:t> </a:t>
            </a:r>
            <a:r>
              <a:rPr lang="en-GB" err="1"/>
              <a:t>perustyyl</a:t>
            </a:r>
            <a:r>
              <a:rPr lang="en-GB"/>
              <a:t>. </a:t>
            </a:r>
            <a:r>
              <a:rPr lang="en-GB" err="1"/>
              <a:t>napsautt</a:t>
            </a:r>
            <a:r>
              <a:rPr lang="en-GB"/>
              <a:t>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44649F6-830D-4E47-BAB1-AF8B92304F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600" y="1"/>
            <a:ext cx="6180455" cy="290285"/>
          </a:xfrm>
        </p:spPr>
        <p:txBody>
          <a:bodyPr lIns="25200" tIns="25200" rIns="25200" bIns="25200" anchor="ctr">
            <a:noAutofit/>
          </a:bodyPr>
          <a:lstStyle>
            <a:lvl1pPr marL="0" indent="0">
              <a:buNone/>
              <a:defRPr sz="1200">
                <a:solidFill>
                  <a:schemeClr val="accent6"/>
                </a:solidFill>
              </a:defRPr>
            </a:lvl1pPr>
            <a:lvl2pPr marL="313200" indent="0">
              <a:buNone/>
              <a:defRPr/>
            </a:lvl2pPr>
          </a:lstStyle>
          <a:p>
            <a:pPr lvl="0"/>
            <a:r>
              <a:rPr lang="en-GB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6651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52800" y="237600"/>
            <a:ext cx="8510400" cy="738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0" y="1130400"/>
            <a:ext cx="7848000" cy="3240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625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ts val="1900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hkokko/statuses/23784442250133504" TargetMode="External"/><Relationship Id="rId2" Type="http://schemas.openxmlformats.org/officeDocument/2006/relationships/hyperlink" Target="https://twitter.com/hkokko/statuses/23784714842152960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twitter.com/hkokko/statuses/2187327573073920" TargetMode="External"/><Relationship Id="rId4" Type="http://schemas.openxmlformats.org/officeDocument/2006/relationships/hyperlink" Target="https://twitter.com/hkokko/statuses/23783433540997120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hkokko/statuses/9224161956" TargetMode="External"/><Relationship Id="rId2" Type="http://schemas.openxmlformats.org/officeDocument/2006/relationships/hyperlink" Target="https://twitter.com/hkokko/statuses/14369152441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diagramLayout" Target="../diagrams/layout10.xml"/><Relationship Id="rId7" Type="http://schemas.openxmlformats.org/officeDocument/2006/relationships/diagramData" Target="../diagrams/data11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0" Type="http://schemas.openxmlformats.org/officeDocument/2006/relationships/diagramColors" Target="../diagrams/colors11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svg"/><Relationship Id="rId18" Type="http://schemas.openxmlformats.org/officeDocument/2006/relationships/image" Target="../media/image56.svg"/><Relationship Id="rId3" Type="http://schemas.openxmlformats.org/officeDocument/2006/relationships/image" Target="../media/image41.svg"/><Relationship Id="rId7" Type="http://schemas.openxmlformats.org/officeDocument/2006/relationships/image" Target="../media/image45.svg"/><Relationship Id="rId12" Type="http://schemas.openxmlformats.org/officeDocument/2006/relationships/image" Target="../media/image50.jpg"/><Relationship Id="rId17" Type="http://schemas.openxmlformats.org/officeDocument/2006/relationships/image" Target="../media/image55.svg"/><Relationship Id="rId2" Type="http://schemas.openxmlformats.org/officeDocument/2006/relationships/image" Target="../media/image40.png"/><Relationship Id="rId16" Type="http://schemas.openxmlformats.org/officeDocument/2006/relationships/image" Target="../media/image5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png"/><Relationship Id="rId11" Type="http://schemas.openxmlformats.org/officeDocument/2006/relationships/image" Target="../media/image49.jpg"/><Relationship Id="rId5" Type="http://schemas.openxmlformats.org/officeDocument/2006/relationships/image" Target="../media/image43.svg"/><Relationship Id="rId15" Type="http://schemas.openxmlformats.org/officeDocument/2006/relationships/image" Target="../media/image53.svg"/><Relationship Id="rId10" Type="http://schemas.openxmlformats.org/officeDocument/2006/relationships/image" Target="../media/image48.jpg"/><Relationship Id="rId4" Type="http://schemas.openxmlformats.org/officeDocument/2006/relationships/image" Target="../media/image42.png"/><Relationship Id="rId9" Type="http://schemas.openxmlformats.org/officeDocument/2006/relationships/image" Target="../media/image47.svg"/><Relationship Id="rId14" Type="http://schemas.openxmlformats.org/officeDocument/2006/relationships/image" Target="../media/image52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200" y="2283718"/>
            <a:ext cx="8510400" cy="1755482"/>
          </a:xfrm>
        </p:spPr>
        <p:txBody>
          <a:bodyPr/>
          <a:lstStyle/>
          <a:p>
            <a:r>
              <a:rPr lang="en" dirty="0"/>
              <a:t>Global Product Development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" dirty="0"/>
              <a:t>Thoughts and experiences about building software globally effectively</a:t>
            </a:r>
            <a:endParaRPr lang="fi-FI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i-FI" dirty="0"/>
              <a:t>Hannu Kokko, 8 </a:t>
            </a:r>
            <a:r>
              <a:rPr lang="fi-FI" dirty="0" err="1"/>
              <a:t>December</a:t>
            </a:r>
            <a:r>
              <a:rPr lang="fi-FI" dirty="0"/>
              <a:t>, 2019</a:t>
            </a:r>
          </a:p>
        </p:txBody>
      </p:sp>
    </p:spTree>
    <p:extLst>
      <p:ext uri="{BB962C8B-B14F-4D97-AF65-F5344CB8AC3E}">
        <p14:creationId xmlns:p14="http://schemas.microsoft.com/office/powerpoint/2010/main" val="305192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FAB87-40AE-2743-A969-CCA6668EE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most</a:t>
            </a:r>
            <a:r>
              <a:rPr lang="fi-FI" dirty="0"/>
              <a:t> </a:t>
            </a:r>
            <a:r>
              <a:rPr lang="fi-FI" dirty="0" err="1"/>
              <a:t>important</a:t>
            </a:r>
            <a:r>
              <a:rPr lang="fi-FI" dirty="0"/>
              <a:t> </a:t>
            </a:r>
            <a:r>
              <a:rPr lang="fi-FI" dirty="0" err="1"/>
              <a:t>thing</a:t>
            </a:r>
            <a:r>
              <a:rPr lang="fi-FI" dirty="0"/>
              <a:t>: Peopl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762E6AFB-A6D6-3248-97D1-0A0455E7D7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1649967"/>
              </p:ext>
            </p:extLst>
          </p:nvPr>
        </p:nvGraphicFramePr>
        <p:xfrm>
          <a:off x="482600" y="2054026"/>
          <a:ext cx="8178800" cy="24711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124C3607-2E2E-7241-B3CB-F08CA6ADDCB2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22752405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75EE2-8649-5846-BFF9-398E77A366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dirty="0" err="1"/>
              <a:t>Some</a:t>
            </a:r>
            <a:r>
              <a:rPr lang="fi-FI" dirty="0"/>
              <a:t> </a:t>
            </a:r>
            <a:r>
              <a:rPr lang="fi-FI" dirty="0" err="1"/>
              <a:t>things</a:t>
            </a:r>
            <a:r>
              <a:rPr lang="fi-FI" dirty="0"/>
              <a:t> I </a:t>
            </a:r>
            <a:r>
              <a:rPr lang="fi-FI" dirty="0" err="1"/>
              <a:t>have</a:t>
            </a:r>
            <a:r>
              <a:rPr lang="fi-FI" dirty="0"/>
              <a:t> </a:t>
            </a:r>
            <a:r>
              <a:rPr lang="fi-FI" dirty="0" err="1"/>
              <a:t>found</a:t>
            </a:r>
            <a:r>
              <a:rPr lang="fi-FI" dirty="0"/>
              <a:t> </a:t>
            </a:r>
            <a:r>
              <a:rPr lang="fi-FI" dirty="0" err="1"/>
              <a:t>useful</a:t>
            </a:r>
            <a:r>
              <a:rPr lang="fi-FI" dirty="0"/>
              <a:t>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459868-B20A-314B-B972-BC6397968E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889622"/>
          </a:xfrm>
        </p:spPr>
        <p:txBody>
          <a:bodyPr>
            <a:normAutofit lnSpcReduction="10000"/>
          </a:bodyPr>
          <a:lstStyle/>
          <a:p>
            <a:r>
              <a:rPr lang="fi-FI" dirty="0" err="1"/>
              <a:t>Learn</a:t>
            </a:r>
            <a:r>
              <a:rPr lang="fi-FI" dirty="0"/>
              <a:t> – </a:t>
            </a:r>
            <a:r>
              <a:rPr lang="fi-FI" dirty="0" err="1"/>
              <a:t>ship</a:t>
            </a:r>
            <a:r>
              <a:rPr lang="fi-FI" dirty="0"/>
              <a:t> – </a:t>
            </a:r>
            <a:r>
              <a:rPr lang="fi-FI" dirty="0" err="1"/>
              <a:t>learn</a:t>
            </a:r>
            <a:r>
              <a:rPr lang="fi-FI" dirty="0"/>
              <a:t>. </a:t>
            </a:r>
            <a:r>
              <a:rPr lang="fi-FI" dirty="0" err="1"/>
              <a:t>Ship</a:t>
            </a:r>
            <a:r>
              <a:rPr lang="fi-FI" dirty="0"/>
              <a:t> </a:t>
            </a:r>
            <a:r>
              <a:rPr lang="fi-FI" dirty="0" err="1"/>
              <a:t>early</a:t>
            </a:r>
            <a:r>
              <a:rPr lang="fi-FI" dirty="0"/>
              <a:t>. </a:t>
            </a:r>
          </a:p>
          <a:p>
            <a:r>
              <a:rPr lang="fi-FI" dirty="0"/>
              <a:t>Team of </a:t>
            </a:r>
            <a:r>
              <a:rPr lang="fi-FI" dirty="0" err="1"/>
              <a:t>teams</a:t>
            </a:r>
            <a:r>
              <a:rPr lang="fi-FI" dirty="0"/>
              <a:t> – </a:t>
            </a:r>
            <a:r>
              <a:rPr lang="fi-FI" dirty="0" err="1"/>
              <a:t>flow</a:t>
            </a:r>
            <a:r>
              <a:rPr lang="fi-FI" dirty="0"/>
              <a:t>, </a:t>
            </a:r>
            <a:r>
              <a:rPr lang="fi-FI" dirty="0" err="1"/>
              <a:t>common</a:t>
            </a:r>
            <a:r>
              <a:rPr lang="fi-FI" dirty="0"/>
              <a:t> </a:t>
            </a:r>
            <a:r>
              <a:rPr lang="fi-FI" dirty="0" err="1"/>
              <a:t>situational</a:t>
            </a:r>
            <a:r>
              <a:rPr lang="fi-FI" dirty="0"/>
              <a:t> </a:t>
            </a:r>
            <a:r>
              <a:rPr lang="fi-FI" dirty="0" err="1"/>
              <a:t>view</a:t>
            </a:r>
            <a:r>
              <a:rPr lang="fi-FI" dirty="0"/>
              <a:t> and </a:t>
            </a:r>
            <a:r>
              <a:rPr lang="fi-FI" dirty="0" err="1"/>
              <a:t>common</a:t>
            </a:r>
            <a:r>
              <a:rPr lang="fi-FI" dirty="0"/>
              <a:t> team </a:t>
            </a:r>
            <a:r>
              <a:rPr lang="fi-FI" dirty="0" err="1"/>
              <a:t>targets</a:t>
            </a:r>
            <a:r>
              <a:rPr lang="fi-FI" dirty="0"/>
              <a:t>, </a:t>
            </a:r>
            <a:r>
              <a:rPr lang="fi-FI" dirty="0" err="1"/>
              <a:t>scaling</a:t>
            </a:r>
            <a:r>
              <a:rPr lang="fi-FI" dirty="0"/>
              <a:t> and </a:t>
            </a:r>
            <a:r>
              <a:rPr lang="fi-FI" dirty="0" err="1"/>
              <a:t>dependencies</a:t>
            </a:r>
            <a:r>
              <a:rPr lang="fi-FI" dirty="0"/>
              <a:t> </a:t>
            </a:r>
            <a:r>
              <a:rPr lang="fi-FI" dirty="0" err="1"/>
              <a:t>need</a:t>
            </a:r>
            <a:r>
              <a:rPr lang="fi-FI" dirty="0"/>
              <a:t> </a:t>
            </a:r>
            <a:r>
              <a:rPr lang="fi-FI" dirty="0" err="1"/>
              <a:t>attention</a:t>
            </a:r>
            <a:r>
              <a:rPr lang="fi-FI" dirty="0"/>
              <a:t> and </a:t>
            </a:r>
            <a:r>
              <a:rPr lang="fi-FI" dirty="0" err="1"/>
              <a:t>work</a:t>
            </a:r>
            <a:r>
              <a:rPr lang="fi-FI" dirty="0"/>
              <a:t> </a:t>
            </a:r>
            <a:r>
              <a:rPr lang="fi-FI" dirty="0" err="1"/>
              <a:t>constantly</a:t>
            </a:r>
            <a:endParaRPr lang="fi-FI" dirty="0"/>
          </a:p>
          <a:p>
            <a:endParaRPr lang="fi-FI" dirty="0"/>
          </a:p>
          <a:p>
            <a:r>
              <a:rPr lang="fi-FI" dirty="0" err="1"/>
              <a:t>Understand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customer</a:t>
            </a:r>
            <a:endParaRPr lang="fi-FI" dirty="0"/>
          </a:p>
          <a:p>
            <a:endParaRPr lang="fi-FI" dirty="0"/>
          </a:p>
          <a:p>
            <a:r>
              <a:rPr lang="fi-FI" dirty="0" err="1"/>
              <a:t>Everybody</a:t>
            </a:r>
            <a:r>
              <a:rPr lang="fi-FI" dirty="0"/>
              <a:t> in </a:t>
            </a:r>
            <a:r>
              <a:rPr lang="fi-FI" dirty="0" err="1"/>
              <a:t>the</a:t>
            </a:r>
            <a:r>
              <a:rPr lang="fi-FI" dirty="0"/>
              <a:t> team </a:t>
            </a:r>
            <a:r>
              <a:rPr lang="fi-FI" dirty="0" err="1"/>
              <a:t>needs</a:t>
            </a:r>
            <a:r>
              <a:rPr lang="fi-FI" dirty="0"/>
              <a:t> to </a:t>
            </a:r>
            <a:r>
              <a:rPr lang="fi-FI" dirty="0" err="1"/>
              <a:t>understand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problems</a:t>
            </a:r>
            <a:r>
              <a:rPr lang="fi-FI" dirty="0"/>
              <a:t> AND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solutions</a:t>
            </a:r>
            <a:r>
              <a:rPr lang="fi-FI" dirty="0"/>
              <a:t>. </a:t>
            </a:r>
          </a:p>
          <a:p>
            <a:pPr lvl="1"/>
            <a:r>
              <a:rPr lang="fi-FI" dirty="0" err="1"/>
              <a:t>Keep</a:t>
            </a:r>
            <a:r>
              <a:rPr lang="fi-FI" dirty="0"/>
              <a:t> </a:t>
            </a:r>
            <a:r>
              <a:rPr lang="fi-FI" dirty="0" err="1"/>
              <a:t>quality</a:t>
            </a:r>
            <a:r>
              <a:rPr lang="fi-FI" dirty="0"/>
              <a:t> </a:t>
            </a:r>
            <a:r>
              <a:rPr lang="fi-FI" dirty="0" err="1"/>
              <a:t>high</a:t>
            </a:r>
            <a:r>
              <a:rPr lang="fi-FI" dirty="0"/>
              <a:t> </a:t>
            </a:r>
            <a:r>
              <a:rPr lang="fi-FI" dirty="0" err="1"/>
              <a:t>constantly</a:t>
            </a:r>
            <a:r>
              <a:rPr lang="fi-FI" dirty="0"/>
              <a:t> </a:t>
            </a:r>
          </a:p>
          <a:p>
            <a:pPr lvl="1"/>
            <a:r>
              <a:rPr lang="fi-FI" dirty="0"/>
              <a:t>Open </a:t>
            </a:r>
            <a:r>
              <a:rPr lang="fi-FI" dirty="0" err="1"/>
              <a:t>eyes</a:t>
            </a:r>
            <a:r>
              <a:rPr lang="fi-FI" dirty="0"/>
              <a:t> to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world</a:t>
            </a:r>
            <a:endParaRPr lang="fi-FI" dirty="0"/>
          </a:p>
          <a:p>
            <a:pPr lvl="1"/>
            <a:r>
              <a:rPr lang="fi-FI" dirty="0" err="1"/>
              <a:t>Always</a:t>
            </a:r>
            <a:r>
              <a:rPr lang="fi-FI" dirty="0"/>
              <a:t> </a:t>
            </a:r>
            <a:r>
              <a:rPr lang="fi-FI" dirty="0" err="1"/>
              <a:t>think</a:t>
            </a:r>
            <a:r>
              <a:rPr lang="fi-FI" dirty="0"/>
              <a:t> of </a:t>
            </a:r>
            <a:r>
              <a:rPr lang="fi-FI" dirty="0" err="1"/>
              <a:t>multiple</a:t>
            </a:r>
            <a:r>
              <a:rPr lang="fi-FI" dirty="0"/>
              <a:t> </a:t>
            </a:r>
            <a:r>
              <a:rPr lang="fi-FI" dirty="0" err="1"/>
              <a:t>different</a:t>
            </a:r>
            <a:r>
              <a:rPr lang="fi-FI" dirty="0"/>
              <a:t> </a:t>
            </a:r>
            <a:r>
              <a:rPr lang="fi-FI" dirty="0" err="1"/>
              <a:t>ways</a:t>
            </a:r>
            <a:r>
              <a:rPr lang="fi-FI" dirty="0"/>
              <a:t> to </a:t>
            </a:r>
            <a:r>
              <a:rPr lang="fi-FI" dirty="0" err="1"/>
              <a:t>build</a:t>
            </a:r>
            <a:endParaRPr lang="fi-FI" dirty="0"/>
          </a:p>
          <a:p>
            <a:pPr lvl="1"/>
            <a:r>
              <a:rPr lang="fi-FI" dirty="0" err="1"/>
              <a:t>Think</a:t>
            </a:r>
            <a:r>
              <a:rPr lang="fi-FI" dirty="0"/>
              <a:t> </a:t>
            </a:r>
            <a:r>
              <a:rPr lang="fi-FI" dirty="0" err="1"/>
              <a:t>about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future</a:t>
            </a:r>
            <a:r>
              <a:rPr lang="fi-FI" dirty="0"/>
              <a:t> </a:t>
            </a:r>
            <a:r>
              <a:rPr lang="fi-FI" dirty="0" err="1"/>
              <a:t>when</a:t>
            </a:r>
            <a:r>
              <a:rPr lang="fi-FI" dirty="0"/>
              <a:t> </a:t>
            </a:r>
            <a:r>
              <a:rPr lang="fi-FI" dirty="0" err="1"/>
              <a:t>building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present</a:t>
            </a:r>
            <a:endParaRPr lang="fi-FI" dirty="0"/>
          </a:p>
          <a:p>
            <a:endParaRPr lang="fi-FI" dirty="0"/>
          </a:p>
          <a:p>
            <a:r>
              <a:rPr lang="fi-FI" dirty="0" err="1"/>
              <a:t>Listen</a:t>
            </a:r>
            <a:r>
              <a:rPr lang="fi-FI" dirty="0"/>
              <a:t>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0BABCB-A888-C04D-A8BD-250547F0DC51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6785804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6AC55A-A5D4-BA44-ADA4-FC94BF25F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Global Product </a:t>
            </a:r>
            <a:r>
              <a:rPr lang="fi-FI" dirty="0" err="1"/>
              <a:t>Development</a:t>
            </a:r>
            <a:r>
              <a:rPr lang="fi-FI" dirty="0"/>
              <a:t> </a:t>
            </a:r>
            <a:r>
              <a:rPr lang="fi-FI" dirty="0" err="1"/>
              <a:t>Thoughts</a:t>
            </a:r>
            <a:endParaRPr lang="fi-FI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17B9F81-0E08-E047-9AED-9577AF699A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2103365"/>
              </p:ext>
            </p:extLst>
          </p:nvPr>
        </p:nvGraphicFramePr>
        <p:xfrm>
          <a:off x="1115616" y="1203598"/>
          <a:ext cx="7416824" cy="3271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84E703B-24C7-EB4C-AF66-BF17C67445E1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21103782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57" y="-101497"/>
            <a:ext cx="8864911" cy="857250"/>
          </a:xfrm>
        </p:spPr>
        <p:txBody>
          <a:bodyPr>
            <a:normAutofit/>
          </a:bodyPr>
          <a:lstStyle/>
          <a:p>
            <a:r>
              <a:rPr lang="en-US" sz="2400" dirty="0"/>
              <a:t>What are your company core competencies? What they should be</a:t>
            </a:r>
            <a:r>
              <a:rPr lang="fi-FI" sz="2400" dirty="0"/>
              <a:t>?</a:t>
            </a:r>
            <a:endParaRPr lang="en-US" sz="2400" dirty="0"/>
          </a:p>
        </p:txBody>
      </p:sp>
      <p:graphicFrame>
        <p:nvGraphicFramePr>
          <p:cNvPr id="6" name="Diagram 5"/>
          <p:cNvGraphicFramePr/>
          <p:nvPr/>
        </p:nvGraphicFramePr>
        <p:xfrm>
          <a:off x="1524000" y="539750"/>
          <a:ext cx="6889522" cy="45107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875649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>
                <a:solidFill>
                  <a:srgbClr val="008000"/>
                </a:solidFill>
              </a:rPr>
              <a:t>Can I communicate this to </a:t>
            </a:r>
            <a:r>
              <a:rPr lang="en-US" sz="1400" dirty="0" err="1">
                <a:solidFill>
                  <a:srgbClr val="008000"/>
                </a:solidFill>
              </a:rPr>
              <a:t>digitalizers</a:t>
            </a:r>
            <a:r>
              <a:rPr lang="en-US" sz="1400" dirty="0">
                <a:solidFill>
                  <a:srgbClr val="008000"/>
                </a:solidFill>
              </a:rPr>
              <a:t> and builders</a:t>
            </a:r>
          </a:p>
          <a:p>
            <a:r>
              <a:rPr lang="en-US" sz="1400" dirty="0">
                <a:solidFill>
                  <a:srgbClr val="008000"/>
                </a:solidFill>
              </a:rPr>
              <a:t>(Business Owner) </a:t>
            </a:r>
            <a:r>
              <a:rPr lang="en-US" sz="1400" i="1" dirty="0">
                <a:solidFill>
                  <a:srgbClr val="008000"/>
                </a:solidFill>
              </a:rPr>
              <a:t>100%</a:t>
            </a:r>
          </a:p>
        </p:txBody>
      </p:sp>
      <p:sp>
        <p:nvSpPr>
          <p:cNvPr id="9" name="Rectangle 8"/>
          <p:cNvSpPr/>
          <p:nvPr/>
        </p:nvSpPr>
        <p:spPr>
          <a:xfrm>
            <a:off x="30802" y="1576388"/>
            <a:ext cx="338906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008000"/>
                </a:solidFill>
              </a:rPr>
              <a:t>Can I structure and phase product to builders (Product Owners </a:t>
            </a:r>
            <a:r>
              <a:rPr lang="en-US" sz="1400" i="1" dirty="0">
                <a:solidFill>
                  <a:srgbClr val="008000"/>
                </a:solidFill>
              </a:rPr>
              <a:t>(100%) </a:t>
            </a:r>
            <a:r>
              <a:rPr lang="en-US" sz="1400" dirty="0">
                <a:solidFill>
                  <a:srgbClr val="008000"/>
                </a:solidFill>
              </a:rPr>
              <a:t>and Architects </a:t>
            </a:r>
            <a:r>
              <a:rPr lang="en-US" sz="1400" i="1" dirty="0">
                <a:solidFill>
                  <a:srgbClr val="008000"/>
                </a:solidFill>
              </a:rPr>
              <a:t>(70-90%). Get a trusted, extremely competent, very long term partn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" y="2760759"/>
            <a:ext cx="295148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8000"/>
                </a:solidFill>
              </a:rPr>
              <a:t>Can I scale with own people. Output? Cost? Stable load? Competence development?</a:t>
            </a:r>
          </a:p>
          <a:p>
            <a:r>
              <a:rPr lang="en-US" sz="1200" i="1" dirty="0">
                <a:solidFill>
                  <a:srgbClr val="008000"/>
                </a:solidFill>
              </a:rPr>
              <a:t>In product dev (70%-90%), in projects can be les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8257" y="3976476"/>
            <a:ext cx="295148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Often use of integration technologies are fluctuating  project by project and can be left to a partner. </a:t>
            </a:r>
            <a:endParaRPr lang="en-US" sz="1400" dirty="0">
              <a:solidFill>
                <a:srgbClr val="008000"/>
              </a:solidFill>
            </a:endParaRPr>
          </a:p>
        </p:txBody>
      </p:sp>
      <p:sp>
        <p:nvSpPr>
          <p:cNvPr id="3" name="Line Callout 1 2">
            <a:extLst>
              <a:ext uri="{FF2B5EF4-FFF2-40B4-BE49-F238E27FC236}">
                <a16:creationId xmlns:a16="http://schemas.microsoft.com/office/drawing/2014/main" id="{0F93992D-520E-1A46-A160-AB6770AA19A3}"/>
              </a:ext>
            </a:extLst>
          </p:cNvPr>
          <p:cNvSpPr/>
          <p:nvPr/>
        </p:nvSpPr>
        <p:spPr>
          <a:xfrm>
            <a:off x="6523802" y="659823"/>
            <a:ext cx="2580739" cy="1263855"/>
          </a:xfrm>
          <a:prstGeom prst="borderCallout1">
            <a:avLst>
              <a:gd name="adj1" fmla="val 18750"/>
              <a:gd name="adj2" fmla="val -8333"/>
              <a:gd name="adj3" fmla="val 84189"/>
              <a:gd name="adj4" fmla="val -30939"/>
            </a:avLst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rgbClr val="FF0000"/>
                </a:solidFill>
              </a:rPr>
              <a:t>If digitalization is not my strength, how do I know what is good. </a:t>
            </a:r>
          </a:p>
          <a:p>
            <a:endParaRPr lang="en-US" sz="1400" dirty="0">
              <a:solidFill>
                <a:srgbClr val="FF0000"/>
              </a:solidFill>
            </a:endParaRPr>
          </a:p>
          <a:p>
            <a:r>
              <a:rPr lang="en-US" sz="1400" dirty="0">
                <a:solidFill>
                  <a:srgbClr val="FF0000"/>
                </a:solidFill>
              </a:rPr>
              <a:t>How do I know how quickly it can be done</a:t>
            </a:r>
          </a:p>
        </p:txBody>
      </p:sp>
      <p:sp>
        <p:nvSpPr>
          <p:cNvPr id="5" name="Line Callout 1 4">
            <a:extLst>
              <a:ext uri="{FF2B5EF4-FFF2-40B4-BE49-F238E27FC236}">
                <a16:creationId xmlns:a16="http://schemas.microsoft.com/office/drawing/2014/main" id="{D53C3751-04D4-3A4E-BB54-AEF620FD5603}"/>
              </a:ext>
            </a:extLst>
          </p:cNvPr>
          <p:cNvSpPr/>
          <p:nvPr/>
        </p:nvSpPr>
        <p:spPr>
          <a:xfrm>
            <a:off x="6839743" y="2103698"/>
            <a:ext cx="2304256" cy="2766761"/>
          </a:xfrm>
          <a:prstGeom prst="borderCallout1">
            <a:avLst>
              <a:gd name="adj1" fmla="val 18750"/>
              <a:gd name="adj2" fmla="val -8333"/>
              <a:gd name="adj3" fmla="val 41229"/>
              <a:gd name="adj4" fmla="val -55586"/>
            </a:avLst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 dirty="0">
                <a:solidFill>
                  <a:srgbClr val="FF0000"/>
                </a:solidFill>
              </a:rPr>
              <a:t>If building is not my strength – how do I know what is good. </a:t>
            </a:r>
          </a:p>
          <a:p>
            <a:pPr>
              <a:defRPr/>
            </a:pPr>
            <a:endParaRPr lang="en-US" sz="1400" dirty="0">
              <a:solidFill>
                <a:srgbClr val="FF0000"/>
              </a:solidFill>
            </a:endParaRPr>
          </a:p>
          <a:p>
            <a:pPr>
              <a:defRPr/>
            </a:pPr>
            <a:r>
              <a:rPr lang="en-US" sz="1400" dirty="0">
                <a:solidFill>
                  <a:srgbClr val="FF0000"/>
                </a:solidFill>
              </a:rPr>
              <a:t>How do I know how quickly it can be built. </a:t>
            </a:r>
          </a:p>
          <a:p>
            <a:pPr>
              <a:defRPr/>
            </a:pPr>
            <a:endParaRPr lang="en-US" sz="1400" dirty="0">
              <a:solidFill>
                <a:srgbClr val="FF0000"/>
              </a:solidFill>
            </a:endParaRPr>
          </a:p>
          <a:p>
            <a:pPr>
              <a:defRPr/>
            </a:pPr>
            <a:r>
              <a:rPr lang="en-US" sz="1400" dirty="0">
                <a:solidFill>
                  <a:srgbClr val="FF0000"/>
                </a:solidFill>
              </a:rPr>
              <a:t>Core knowledge / IPR.</a:t>
            </a:r>
          </a:p>
          <a:p>
            <a:pPr>
              <a:defRPr/>
            </a:pPr>
            <a:endParaRPr lang="en-US" sz="1400" dirty="0">
              <a:solidFill>
                <a:srgbClr val="FF0000"/>
              </a:solidFill>
            </a:endParaRPr>
          </a:p>
          <a:p>
            <a:pPr>
              <a:defRPr/>
            </a:pPr>
            <a:r>
              <a:rPr lang="en-US" sz="1400" dirty="0">
                <a:solidFill>
                  <a:srgbClr val="FF0000"/>
                </a:solidFill>
              </a:rPr>
              <a:t>Can I keep key persons the lifetime of the product (1-3-5-10 years). Lifetime co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BB23C3-227B-A24B-8B51-05D662E31552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156923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16A8A-8E20-4D41-AAB7-0CBB11F33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i-FI" dirty="0" err="1"/>
              <a:t>Agile</a:t>
            </a:r>
            <a:r>
              <a:rPr lang="fi-FI" dirty="0"/>
              <a:t> </a:t>
            </a:r>
            <a:r>
              <a:rPr lang="fi-FI" dirty="0" err="1"/>
              <a:t>Manifesto</a:t>
            </a:r>
            <a:endParaRPr lang="fi-FI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12A934-3F90-2744-AE5D-43E13014990F}"/>
              </a:ext>
            </a:extLst>
          </p:cNvPr>
          <p:cNvSpPr/>
          <p:nvPr/>
        </p:nvSpPr>
        <p:spPr>
          <a:xfrm>
            <a:off x="-183210" y="972729"/>
            <a:ext cx="9073008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400" dirty="0" err="1"/>
              <a:t>We</a:t>
            </a:r>
            <a:r>
              <a:rPr lang="fi-FI" sz="1400" dirty="0"/>
              <a:t> </a:t>
            </a:r>
            <a:r>
              <a:rPr lang="fi-FI" sz="1400" dirty="0" err="1"/>
              <a:t>are</a:t>
            </a:r>
            <a:r>
              <a:rPr lang="fi-FI" sz="1400" dirty="0"/>
              <a:t> </a:t>
            </a:r>
            <a:r>
              <a:rPr lang="fi-FI" sz="1400" dirty="0" err="1"/>
              <a:t>uncovering</a:t>
            </a:r>
            <a:r>
              <a:rPr lang="fi-FI" sz="1400" dirty="0"/>
              <a:t> </a:t>
            </a:r>
            <a:r>
              <a:rPr lang="fi-FI" sz="1400" dirty="0" err="1"/>
              <a:t>better</a:t>
            </a:r>
            <a:r>
              <a:rPr lang="fi-FI" sz="1400" dirty="0"/>
              <a:t> </a:t>
            </a:r>
            <a:r>
              <a:rPr lang="fi-FI" sz="1400" dirty="0" err="1"/>
              <a:t>ways</a:t>
            </a:r>
            <a:r>
              <a:rPr lang="fi-FI" sz="1400" dirty="0"/>
              <a:t> of </a:t>
            </a:r>
            <a:r>
              <a:rPr lang="fi-FI" sz="1400" dirty="0" err="1"/>
              <a:t>developing</a:t>
            </a:r>
            <a:br>
              <a:rPr lang="fi-FI" sz="1400" dirty="0"/>
            </a:br>
            <a:r>
              <a:rPr lang="fi-FI" sz="1400" dirty="0"/>
              <a:t>software </a:t>
            </a:r>
            <a:r>
              <a:rPr lang="fi-FI" sz="1400" dirty="0" err="1"/>
              <a:t>by</a:t>
            </a:r>
            <a:r>
              <a:rPr lang="fi-FI" sz="1400" dirty="0"/>
              <a:t> </a:t>
            </a:r>
            <a:r>
              <a:rPr lang="fi-FI" sz="1400" dirty="0" err="1"/>
              <a:t>doing</a:t>
            </a:r>
            <a:r>
              <a:rPr lang="fi-FI" sz="1400" dirty="0"/>
              <a:t> it and </a:t>
            </a:r>
            <a:r>
              <a:rPr lang="fi-FI" sz="1400" dirty="0" err="1"/>
              <a:t>helping</a:t>
            </a:r>
            <a:r>
              <a:rPr lang="fi-FI" sz="1400" dirty="0"/>
              <a:t> </a:t>
            </a:r>
            <a:r>
              <a:rPr lang="fi-FI" sz="1400" dirty="0" err="1"/>
              <a:t>others</a:t>
            </a:r>
            <a:r>
              <a:rPr lang="fi-FI" sz="1400" dirty="0"/>
              <a:t> </a:t>
            </a:r>
            <a:r>
              <a:rPr lang="fi-FI" sz="1400" dirty="0" err="1"/>
              <a:t>do</a:t>
            </a:r>
            <a:r>
              <a:rPr lang="fi-FI" sz="1400" dirty="0"/>
              <a:t> it.</a:t>
            </a:r>
            <a:br>
              <a:rPr lang="fi-FI" sz="1400" dirty="0"/>
            </a:br>
            <a:r>
              <a:rPr lang="fi-FI" sz="1400" dirty="0"/>
              <a:t>Through </a:t>
            </a:r>
            <a:r>
              <a:rPr lang="fi-FI" sz="1400" dirty="0" err="1"/>
              <a:t>this</a:t>
            </a:r>
            <a:r>
              <a:rPr lang="fi-FI" sz="1400" dirty="0"/>
              <a:t> </a:t>
            </a:r>
            <a:r>
              <a:rPr lang="fi-FI" sz="1400" dirty="0" err="1"/>
              <a:t>work</a:t>
            </a:r>
            <a:r>
              <a:rPr lang="fi-FI" sz="1400" dirty="0"/>
              <a:t> </a:t>
            </a:r>
            <a:r>
              <a:rPr lang="fi-FI" sz="1400" dirty="0" err="1"/>
              <a:t>we</a:t>
            </a:r>
            <a:r>
              <a:rPr lang="fi-FI" sz="1400" dirty="0"/>
              <a:t> </a:t>
            </a:r>
            <a:r>
              <a:rPr lang="fi-FI" sz="1400" dirty="0" err="1"/>
              <a:t>have</a:t>
            </a:r>
            <a:r>
              <a:rPr lang="fi-FI" sz="1400" dirty="0"/>
              <a:t> </a:t>
            </a:r>
            <a:r>
              <a:rPr lang="fi-FI" sz="1400" dirty="0" err="1"/>
              <a:t>come</a:t>
            </a:r>
            <a:r>
              <a:rPr lang="fi-FI" sz="1400" dirty="0"/>
              <a:t> to </a:t>
            </a:r>
            <a:r>
              <a:rPr lang="fi-FI" sz="1400" dirty="0" err="1"/>
              <a:t>value</a:t>
            </a:r>
            <a:r>
              <a:rPr lang="fi-FI" sz="1400" dirty="0"/>
              <a:t>:</a:t>
            </a:r>
            <a:br>
              <a:rPr lang="fi-FI" dirty="0"/>
            </a:br>
            <a:endParaRPr lang="fi-FI" dirty="0"/>
          </a:p>
          <a:p>
            <a:pPr algn="ctr"/>
            <a:r>
              <a:rPr lang="fi-FI" b="1" dirty="0" err="1"/>
              <a:t>Individuals</a:t>
            </a:r>
            <a:r>
              <a:rPr lang="fi-FI" b="1" dirty="0"/>
              <a:t> and </a:t>
            </a:r>
            <a:r>
              <a:rPr lang="fi-FI" b="1" dirty="0" err="1"/>
              <a:t>interactions</a:t>
            </a:r>
            <a:r>
              <a:rPr lang="fi-FI" b="1" dirty="0"/>
              <a:t> </a:t>
            </a:r>
            <a:r>
              <a:rPr lang="fi-FI" dirty="0" err="1"/>
              <a:t>over</a:t>
            </a:r>
            <a:r>
              <a:rPr lang="fi-FI" dirty="0"/>
              <a:t> </a:t>
            </a:r>
            <a:r>
              <a:rPr lang="fi-FI" b="1" dirty="0" err="1"/>
              <a:t>processes</a:t>
            </a:r>
            <a:r>
              <a:rPr lang="fi-FI" b="1" dirty="0"/>
              <a:t> and </a:t>
            </a:r>
            <a:r>
              <a:rPr lang="fi-FI" b="1" dirty="0" err="1"/>
              <a:t>tools</a:t>
            </a:r>
            <a:br>
              <a:rPr lang="fi-FI" dirty="0"/>
            </a:br>
            <a:r>
              <a:rPr lang="fi-FI" b="1" dirty="0" err="1"/>
              <a:t>Working</a:t>
            </a:r>
            <a:r>
              <a:rPr lang="fi-FI" b="1" dirty="0"/>
              <a:t> software </a:t>
            </a:r>
            <a:r>
              <a:rPr lang="fi-FI" dirty="0" err="1"/>
              <a:t>over</a:t>
            </a:r>
            <a:r>
              <a:rPr lang="fi-FI" dirty="0"/>
              <a:t> </a:t>
            </a:r>
            <a:r>
              <a:rPr lang="fi-FI" b="1" dirty="0" err="1"/>
              <a:t>comprehensive</a:t>
            </a:r>
            <a:r>
              <a:rPr lang="fi-FI" b="1" dirty="0"/>
              <a:t> </a:t>
            </a:r>
            <a:r>
              <a:rPr lang="fi-FI" b="1" dirty="0" err="1"/>
              <a:t>documentation</a:t>
            </a:r>
            <a:br>
              <a:rPr lang="fi-FI" dirty="0"/>
            </a:br>
            <a:r>
              <a:rPr lang="fi-FI" b="1" dirty="0" err="1"/>
              <a:t>Customer</a:t>
            </a:r>
            <a:r>
              <a:rPr lang="fi-FI" b="1" dirty="0"/>
              <a:t> </a:t>
            </a:r>
            <a:r>
              <a:rPr lang="fi-FI" b="1" dirty="0" err="1"/>
              <a:t>collaboration</a:t>
            </a:r>
            <a:r>
              <a:rPr lang="fi-FI" b="1" dirty="0"/>
              <a:t> </a:t>
            </a:r>
            <a:r>
              <a:rPr lang="fi-FI" dirty="0" err="1"/>
              <a:t>over</a:t>
            </a:r>
            <a:r>
              <a:rPr lang="fi-FI" dirty="0"/>
              <a:t> </a:t>
            </a:r>
            <a:r>
              <a:rPr lang="fi-FI" b="1" dirty="0" err="1"/>
              <a:t>contract</a:t>
            </a:r>
            <a:r>
              <a:rPr lang="fi-FI" b="1" dirty="0"/>
              <a:t> </a:t>
            </a:r>
            <a:r>
              <a:rPr lang="fi-FI" b="1" dirty="0" err="1"/>
              <a:t>negotiation</a:t>
            </a:r>
            <a:br>
              <a:rPr lang="fi-FI" dirty="0"/>
            </a:br>
            <a:r>
              <a:rPr lang="fi-FI" b="1" dirty="0" err="1"/>
              <a:t>Responding</a:t>
            </a:r>
            <a:r>
              <a:rPr lang="fi-FI" b="1" dirty="0"/>
              <a:t> to </a:t>
            </a:r>
            <a:r>
              <a:rPr lang="fi-FI" b="1" dirty="0" err="1"/>
              <a:t>change</a:t>
            </a:r>
            <a:r>
              <a:rPr lang="fi-FI" b="1" dirty="0"/>
              <a:t> </a:t>
            </a:r>
            <a:r>
              <a:rPr lang="fi-FI" dirty="0" err="1"/>
              <a:t>over</a:t>
            </a:r>
            <a:r>
              <a:rPr lang="fi-FI" dirty="0"/>
              <a:t> </a:t>
            </a:r>
            <a:r>
              <a:rPr lang="fi-FI" b="1" dirty="0" err="1"/>
              <a:t>following</a:t>
            </a:r>
            <a:r>
              <a:rPr lang="fi-FI" b="1" dirty="0"/>
              <a:t> a </a:t>
            </a:r>
            <a:r>
              <a:rPr lang="fi-FI" b="1" dirty="0" err="1"/>
              <a:t>plan</a:t>
            </a:r>
            <a:br>
              <a:rPr lang="fi-FI" dirty="0"/>
            </a:br>
            <a:endParaRPr lang="fi-FI" dirty="0"/>
          </a:p>
          <a:p>
            <a:pPr algn="ctr"/>
            <a:r>
              <a:rPr lang="fi-FI" sz="1400" dirty="0" err="1"/>
              <a:t>That</a:t>
            </a:r>
            <a:r>
              <a:rPr lang="fi-FI" sz="1400" dirty="0"/>
              <a:t> is, </a:t>
            </a:r>
            <a:r>
              <a:rPr lang="fi-FI" sz="1400" dirty="0" err="1"/>
              <a:t>while</a:t>
            </a:r>
            <a:r>
              <a:rPr lang="fi-FI" sz="1400" dirty="0"/>
              <a:t> </a:t>
            </a:r>
            <a:r>
              <a:rPr lang="fi-FI" sz="1400" dirty="0" err="1"/>
              <a:t>there</a:t>
            </a:r>
            <a:r>
              <a:rPr lang="fi-FI" sz="1400" dirty="0"/>
              <a:t> is </a:t>
            </a:r>
            <a:r>
              <a:rPr lang="fi-FI" sz="1400" dirty="0" err="1"/>
              <a:t>value</a:t>
            </a:r>
            <a:r>
              <a:rPr lang="fi-FI" sz="1400" dirty="0"/>
              <a:t> in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items</a:t>
            </a:r>
            <a:r>
              <a:rPr lang="fi-FI" sz="1400" dirty="0"/>
              <a:t> on</a:t>
            </a:r>
            <a:br>
              <a:rPr lang="fi-FI" sz="1400" dirty="0"/>
            </a:b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right</a:t>
            </a:r>
            <a:r>
              <a:rPr lang="fi-FI" sz="1400" dirty="0"/>
              <a:t>, </a:t>
            </a:r>
            <a:r>
              <a:rPr lang="fi-FI" sz="1400" dirty="0" err="1"/>
              <a:t>we</a:t>
            </a:r>
            <a:r>
              <a:rPr lang="fi-FI" sz="1400" dirty="0"/>
              <a:t> </a:t>
            </a:r>
            <a:r>
              <a:rPr lang="fi-FI" sz="1400" dirty="0" err="1"/>
              <a:t>value</a:t>
            </a:r>
            <a:r>
              <a:rPr lang="fi-FI" sz="1400" dirty="0"/>
              <a:t>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items</a:t>
            </a:r>
            <a:r>
              <a:rPr lang="fi-FI" sz="1400" dirty="0"/>
              <a:t> on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left</a:t>
            </a:r>
            <a:r>
              <a:rPr lang="fi-FI" sz="1400" dirty="0"/>
              <a:t> </a:t>
            </a:r>
            <a:r>
              <a:rPr lang="fi-FI" sz="1400" dirty="0" err="1"/>
              <a:t>more</a:t>
            </a:r>
            <a:r>
              <a:rPr lang="fi-FI" sz="1400" dirty="0"/>
              <a:t>.</a:t>
            </a:r>
          </a:p>
          <a:p>
            <a:endParaRPr lang="fi-FI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E57C6E-3E4E-6444-9660-05CB9F75AFD4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D3D430-658D-174F-B975-401E2B50F0BF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5588202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2D979-CCAF-1D45-89FF-EB6EFBF7C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Working</a:t>
            </a:r>
            <a:r>
              <a:rPr lang="fi-FI" dirty="0"/>
              <a:t> </a:t>
            </a:r>
            <a:r>
              <a:rPr lang="fi-FI" dirty="0" err="1"/>
              <a:t>practices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7FF543-DA13-9D4E-A142-1C8FF7CB2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err="1"/>
              <a:t>Agile</a:t>
            </a:r>
            <a:r>
              <a:rPr lang="fi-FI" dirty="0"/>
              <a:t> is </a:t>
            </a:r>
            <a:r>
              <a:rPr lang="fi-FI" dirty="0" err="1"/>
              <a:t>useful</a:t>
            </a:r>
            <a:r>
              <a:rPr lang="fi-FI" dirty="0"/>
              <a:t> in </a:t>
            </a:r>
            <a:r>
              <a:rPr lang="fi-FI" dirty="0" err="1"/>
              <a:t>most</a:t>
            </a:r>
            <a:r>
              <a:rPr lang="fi-FI" dirty="0"/>
              <a:t> </a:t>
            </a:r>
            <a:r>
              <a:rPr lang="fi-FI" dirty="0" err="1"/>
              <a:t>cases</a:t>
            </a:r>
            <a:endParaRPr lang="fi-FI" dirty="0"/>
          </a:p>
          <a:p>
            <a:r>
              <a:rPr lang="fi-FI" dirty="0" err="1"/>
              <a:t>Scrum</a:t>
            </a:r>
            <a:r>
              <a:rPr lang="fi-FI" dirty="0"/>
              <a:t> and </a:t>
            </a:r>
            <a:r>
              <a:rPr lang="fi-FI" dirty="0" err="1"/>
              <a:t>Kanban</a:t>
            </a:r>
            <a:r>
              <a:rPr lang="fi-FI" dirty="0"/>
              <a:t> </a:t>
            </a:r>
            <a:r>
              <a:rPr lang="fi-FI" dirty="0" err="1"/>
              <a:t>when</a:t>
            </a:r>
            <a:r>
              <a:rPr lang="fi-FI" dirty="0"/>
              <a:t> </a:t>
            </a:r>
            <a:r>
              <a:rPr lang="fi-FI" dirty="0" err="1"/>
              <a:t>followed</a:t>
            </a:r>
            <a:r>
              <a:rPr lang="fi-FI" dirty="0"/>
              <a:t> </a:t>
            </a:r>
            <a:r>
              <a:rPr lang="fi-FI" dirty="0" err="1"/>
              <a:t>are</a:t>
            </a:r>
            <a:r>
              <a:rPr lang="fi-FI" dirty="0"/>
              <a:t> </a:t>
            </a:r>
            <a:r>
              <a:rPr lang="fi-FI" dirty="0" err="1"/>
              <a:t>pretty</a:t>
            </a:r>
            <a:r>
              <a:rPr lang="fi-FI" dirty="0"/>
              <a:t> </a:t>
            </a:r>
            <a:r>
              <a:rPr lang="fi-FI" dirty="0" err="1"/>
              <a:t>good</a:t>
            </a:r>
            <a:r>
              <a:rPr lang="fi-FI" dirty="0"/>
              <a:t> </a:t>
            </a:r>
            <a:r>
              <a:rPr lang="fi-FI" dirty="0" err="1"/>
              <a:t>ways</a:t>
            </a:r>
            <a:r>
              <a:rPr lang="fi-FI" dirty="0"/>
              <a:t> of </a:t>
            </a:r>
            <a:r>
              <a:rPr lang="fi-FI" dirty="0" err="1"/>
              <a:t>working</a:t>
            </a:r>
            <a:endParaRPr lang="fi-FI" dirty="0"/>
          </a:p>
          <a:p>
            <a:r>
              <a:rPr lang="fi-FI" dirty="0"/>
              <a:t>Short </a:t>
            </a:r>
            <a:r>
              <a:rPr lang="fi-FI" dirty="0" err="1"/>
              <a:t>iterations</a:t>
            </a:r>
            <a:r>
              <a:rPr lang="fi-FI" dirty="0"/>
              <a:t> </a:t>
            </a:r>
            <a:r>
              <a:rPr lang="fi-FI" dirty="0" err="1"/>
              <a:t>are</a:t>
            </a:r>
            <a:r>
              <a:rPr lang="fi-FI" dirty="0"/>
              <a:t> </a:t>
            </a:r>
            <a:r>
              <a:rPr lang="fi-FI" dirty="0" err="1"/>
              <a:t>better</a:t>
            </a:r>
            <a:r>
              <a:rPr lang="fi-FI" dirty="0"/>
              <a:t> </a:t>
            </a:r>
            <a:r>
              <a:rPr lang="fi-FI" dirty="0" err="1"/>
              <a:t>than</a:t>
            </a:r>
            <a:r>
              <a:rPr lang="fi-FI" dirty="0"/>
              <a:t> long </a:t>
            </a:r>
            <a:r>
              <a:rPr lang="fi-FI" dirty="0" err="1"/>
              <a:t>ones</a:t>
            </a:r>
            <a:r>
              <a:rPr lang="fi-FI" dirty="0"/>
              <a:t>. 1 </a:t>
            </a:r>
            <a:r>
              <a:rPr lang="fi-FI" dirty="0" err="1"/>
              <a:t>week</a:t>
            </a:r>
            <a:r>
              <a:rPr lang="fi-FI" dirty="0"/>
              <a:t> is ok for </a:t>
            </a:r>
            <a:r>
              <a:rPr lang="fi-FI" dirty="0" err="1"/>
              <a:t>almost</a:t>
            </a:r>
            <a:r>
              <a:rPr lang="fi-FI" dirty="0"/>
              <a:t> </a:t>
            </a:r>
            <a:r>
              <a:rPr lang="fi-FI" dirty="0" err="1"/>
              <a:t>anything</a:t>
            </a:r>
            <a:r>
              <a:rPr lang="fi-FI" dirty="0"/>
              <a:t>. </a:t>
            </a:r>
          </a:p>
          <a:p>
            <a:r>
              <a:rPr lang="fi-FI" dirty="0" err="1"/>
              <a:t>Build</a:t>
            </a:r>
            <a:r>
              <a:rPr lang="fi-FI" dirty="0"/>
              <a:t> </a:t>
            </a:r>
            <a:r>
              <a:rPr lang="fi-FI" dirty="0" err="1"/>
              <a:t>shippable</a:t>
            </a:r>
            <a:r>
              <a:rPr lang="fi-FI" dirty="0"/>
              <a:t> </a:t>
            </a:r>
            <a:r>
              <a:rPr lang="fi-FI" dirty="0" err="1"/>
              <a:t>user</a:t>
            </a:r>
            <a:r>
              <a:rPr lang="fi-FI" dirty="0"/>
              <a:t> </a:t>
            </a:r>
            <a:r>
              <a:rPr lang="fi-FI" dirty="0" err="1"/>
              <a:t>value</a:t>
            </a:r>
            <a:r>
              <a:rPr lang="fi-FI" dirty="0"/>
              <a:t> </a:t>
            </a:r>
            <a:r>
              <a:rPr lang="fi-FI" dirty="0" err="1"/>
              <a:t>not</a:t>
            </a:r>
            <a:r>
              <a:rPr lang="fi-FI" dirty="0"/>
              <a:t> </a:t>
            </a:r>
            <a:r>
              <a:rPr lang="fi-FI" dirty="0" err="1"/>
              <a:t>technical</a:t>
            </a:r>
            <a:r>
              <a:rPr lang="fi-FI" dirty="0"/>
              <a:t> </a:t>
            </a:r>
            <a:r>
              <a:rPr lang="fi-FI" dirty="0" err="1"/>
              <a:t>stories</a:t>
            </a:r>
            <a:endParaRPr lang="fi-FI" dirty="0"/>
          </a:p>
          <a:p>
            <a:r>
              <a:rPr lang="fi-FI" dirty="0" err="1"/>
              <a:t>Build</a:t>
            </a:r>
            <a:r>
              <a:rPr lang="fi-FI" dirty="0"/>
              <a:t> </a:t>
            </a:r>
            <a:r>
              <a:rPr lang="fi-FI" dirty="0" err="1"/>
              <a:t>good</a:t>
            </a:r>
            <a:r>
              <a:rPr lang="fi-FI" dirty="0"/>
              <a:t> </a:t>
            </a:r>
            <a:r>
              <a:rPr lang="fi-FI" dirty="0" err="1"/>
              <a:t>automated</a:t>
            </a:r>
            <a:r>
              <a:rPr lang="fi-FI" dirty="0"/>
              <a:t> </a:t>
            </a:r>
            <a:r>
              <a:rPr lang="fi-FI" dirty="0" err="1"/>
              <a:t>tests</a:t>
            </a:r>
            <a:endParaRPr lang="fi-FI" dirty="0"/>
          </a:p>
          <a:p>
            <a:r>
              <a:rPr lang="fi-FI" dirty="0" err="1"/>
              <a:t>Integrate</a:t>
            </a:r>
            <a:r>
              <a:rPr lang="fi-FI" dirty="0"/>
              <a:t> </a:t>
            </a:r>
            <a:r>
              <a:rPr lang="fi-FI" dirty="0" err="1"/>
              <a:t>several</a:t>
            </a:r>
            <a:r>
              <a:rPr lang="fi-FI" dirty="0"/>
              <a:t> </a:t>
            </a:r>
            <a:r>
              <a:rPr lang="fi-FI" dirty="0" err="1"/>
              <a:t>times</a:t>
            </a:r>
            <a:r>
              <a:rPr lang="fi-FI" dirty="0"/>
              <a:t> a </a:t>
            </a:r>
            <a:r>
              <a:rPr lang="fi-FI" dirty="0" err="1"/>
              <a:t>day</a:t>
            </a:r>
            <a:r>
              <a:rPr lang="fi-FI" dirty="0"/>
              <a:t>. </a:t>
            </a:r>
            <a:r>
              <a:rPr lang="fi-FI" dirty="0" err="1"/>
              <a:t>Ship</a:t>
            </a:r>
            <a:r>
              <a:rPr lang="fi-FI" dirty="0"/>
              <a:t> </a:t>
            </a:r>
            <a:r>
              <a:rPr lang="fi-FI" dirty="0" err="1"/>
              <a:t>that</a:t>
            </a:r>
            <a:r>
              <a:rPr lang="fi-FI" dirty="0"/>
              <a:t> </a:t>
            </a:r>
            <a:r>
              <a:rPr lang="fi-FI" dirty="0" err="1"/>
              <a:t>often</a:t>
            </a:r>
            <a:r>
              <a:rPr lang="fi-FI" dirty="0"/>
              <a:t> </a:t>
            </a:r>
            <a:r>
              <a:rPr lang="fi-FI" dirty="0" err="1"/>
              <a:t>if</a:t>
            </a:r>
            <a:r>
              <a:rPr lang="fi-FI" dirty="0"/>
              <a:t> </a:t>
            </a:r>
            <a:r>
              <a:rPr lang="fi-FI" dirty="0" err="1"/>
              <a:t>you</a:t>
            </a:r>
            <a:r>
              <a:rPr lang="fi-FI" dirty="0"/>
              <a:t> </a:t>
            </a:r>
            <a:r>
              <a:rPr lang="fi-FI" dirty="0" err="1"/>
              <a:t>can</a:t>
            </a:r>
            <a:endParaRPr lang="fi-FI" dirty="0"/>
          </a:p>
          <a:p>
            <a:r>
              <a:rPr lang="fi-FI" dirty="0" err="1"/>
              <a:t>Think</a:t>
            </a:r>
            <a:r>
              <a:rPr lang="fi-FI" dirty="0"/>
              <a:t> </a:t>
            </a:r>
            <a:r>
              <a:rPr lang="fi-FI" dirty="0" err="1"/>
              <a:t>about</a:t>
            </a:r>
            <a:r>
              <a:rPr lang="fi-FI" dirty="0"/>
              <a:t> </a:t>
            </a:r>
            <a:r>
              <a:rPr lang="fi-FI" dirty="0" err="1"/>
              <a:t>architecture</a:t>
            </a:r>
            <a:r>
              <a:rPr lang="fi-FI" dirty="0"/>
              <a:t> and </a:t>
            </a:r>
            <a:r>
              <a:rPr lang="fi-FI" dirty="0" err="1"/>
              <a:t>incurring</a:t>
            </a:r>
            <a:r>
              <a:rPr lang="fi-FI" dirty="0"/>
              <a:t> </a:t>
            </a:r>
            <a:r>
              <a:rPr lang="fi-FI" dirty="0" err="1"/>
              <a:t>technical</a:t>
            </a:r>
            <a:r>
              <a:rPr lang="fi-FI" dirty="0"/>
              <a:t> </a:t>
            </a:r>
            <a:r>
              <a:rPr lang="fi-FI" dirty="0" err="1"/>
              <a:t>debt</a:t>
            </a:r>
            <a:endParaRPr lang="fi-FI" dirty="0"/>
          </a:p>
          <a:p>
            <a:r>
              <a:rPr lang="fi-FI" dirty="0" err="1"/>
              <a:t>Do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simplest</a:t>
            </a:r>
            <a:r>
              <a:rPr lang="fi-FI" dirty="0"/>
              <a:t> </a:t>
            </a:r>
            <a:r>
              <a:rPr lang="fi-FI" dirty="0" err="1"/>
              <a:t>thing</a:t>
            </a:r>
            <a:r>
              <a:rPr lang="fi-FI" dirty="0"/>
              <a:t> </a:t>
            </a:r>
            <a:r>
              <a:rPr lang="fi-FI" dirty="0" err="1"/>
              <a:t>that</a:t>
            </a:r>
            <a:r>
              <a:rPr lang="fi-FI" dirty="0"/>
              <a:t> </a:t>
            </a:r>
            <a:r>
              <a:rPr lang="fi-FI" dirty="0" err="1"/>
              <a:t>can</a:t>
            </a:r>
            <a:r>
              <a:rPr lang="fi-FI" dirty="0"/>
              <a:t> </a:t>
            </a:r>
            <a:r>
              <a:rPr lang="fi-FI" dirty="0" err="1"/>
              <a:t>possibly</a:t>
            </a:r>
            <a:r>
              <a:rPr lang="fi-FI" dirty="0"/>
              <a:t> </a:t>
            </a:r>
            <a:r>
              <a:rPr lang="fi-FI" dirty="0" err="1"/>
              <a:t>work</a:t>
            </a:r>
            <a:endParaRPr lang="fi-FI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6844575-013F-FC4B-9EB0-526B83F93E3E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9F4ECA0-4676-7241-848E-82515E4848E7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18552928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C13F7-25E9-7F44-A63E-C92AB92B8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144" y="61562"/>
            <a:ext cx="8899712" cy="738000"/>
          </a:xfrm>
        </p:spPr>
        <p:txBody>
          <a:bodyPr>
            <a:normAutofit/>
          </a:bodyPr>
          <a:lstStyle/>
          <a:p>
            <a:r>
              <a:rPr lang="fi-FI" sz="2000" dirty="0" err="1"/>
              <a:t>Agile</a:t>
            </a:r>
            <a:r>
              <a:rPr lang="fi-FI" sz="2000" dirty="0"/>
              <a:t>: Nokia </a:t>
            </a:r>
            <a:r>
              <a:rPr lang="fi-FI" sz="2000" dirty="0" err="1"/>
              <a:t>Test</a:t>
            </a:r>
            <a:r>
              <a:rPr lang="fi-FI" sz="2000" dirty="0"/>
              <a:t> </a:t>
            </a:r>
            <a:r>
              <a:rPr lang="fi-FI" sz="2000" dirty="0" err="1"/>
              <a:t>from</a:t>
            </a:r>
            <a:r>
              <a:rPr lang="fi-FI" sz="2000" dirty="0"/>
              <a:t> 2007 is </a:t>
            </a:r>
            <a:r>
              <a:rPr lang="fi-FI" sz="2000" dirty="0" err="1"/>
              <a:t>still</a:t>
            </a:r>
            <a:r>
              <a:rPr lang="fi-FI" sz="2000" dirty="0"/>
              <a:t> a </a:t>
            </a:r>
            <a:r>
              <a:rPr lang="fi-FI" sz="2000" dirty="0" err="1"/>
              <a:t>pretty</a:t>
            </a:r>
            <a:r>
              <a:rPr lang="fi-FI" sz="2000" dirty="0"/>
              <a:t> </a:t>
            </a:r>
            <a:r>
              <a:rPr lang="fi-FI" sz="2000" dirty="0" err="1"/>
              <a:t>good</a:t>
            </a:r>
            <a:r>
              <a:rPr lang="fi-FI" sz="2000" dirty="0"/>
              <a:t> </a:t>
            </a:r>
            <a:r>
              <a:rPr lang="fi-FI" sz="2000" dirty="0" err="1"/>
              <a:t>but</a:t>
            </a:r>
            <a:r>
              <a:rPr lang="fi-FI" sz="2000" dirty="0"/>
              <a:t> </a:t>
            </a:r>
            <a:r>
              <a:rPr lang="fi-FI" sz="2000" dirty="0" err="1"/>
              <a:t>basic</a:t>
            </a:r>
            <a:r>
              <a:rPr lang="fi-FI" sz="2000" dirty="0"/>
              <a:t> </a:t>
            </a:r>
            <a:r>
              <a:rPr lang="fi-FI" sz="2000" dirty="0" err="1"/>
              <a:t>canary</a:t>
            </a:r>
            <a:endParaRPr lang="fi-FI" sz="2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B7C85-BA92-5C47-A384-2781BB91FA36}"/>
              </a:ext>
            </a:extLst>
          </p:cNvPr>
          <p:cNvSpPr/>
          <p:nvPr/>
        </p:nvSpPr>
        <p:spPr>
          <a:xfrm>
            <a:off x="330067" y="843558"/>
            <a:ext cx="8464513" cy="246221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i-FI" sz="1400" dirty="0" err="1"/>
              <a:t>First</a:t>
            </a:r>
            <a:r>
              <a:rPr lang="fi-FI" sz="1400" dirty="0"/>
              <a:t>, </a:t>
            </a:r>
            <a:r>
              <a:rPr lang="fi-FI" sz="1400" dirty="0" err="1"/>
              <a:t>are</a:t>
            </a:r>
            <a:r>
              <a:rPr lang="fi-FI" sz="1400" dirty="0"/>
              <a:t> </a:t>
            </a:r>
            <a:r>
              <a:rPr lang="fi-FI" sz="1400" dirty="0" err="1"/>
              <a:t>you</a:t>
            </a:r>
            <a:r>
              <a:rPr lang="fi-FI" sz="1400" dirty="0"/>
              <a:t> </a:t>
            </a:r>
            <a:r>
              <a:rPr lang="fi-FI" sz="1400" dirty="0" err="1"/>
              <a:t>doing</a:t>
            </a:r>
            <a:r>
              <a:rPr lang="fi-FI" sz="1400" dirty="0"/>
              <a:t> </a:t>
            </a:r>
            <a:r>
              <a:rPr lang="fi-FI" sz="1400" dirty="0" err="1"/>
              <a:t>Iterative</a:t>
            </a:r>
            <a:r>
              <a:rPr lang="fi-FI" sz="1400" dirty="0"/>
              <a:t> </a:t>
            </a:r>
            <a:r>
              <a:rPr lang="fi-FI" sz="1400" dirty="0" err="1"/>
              <a:t>Development</a:t>
            </a:r>
            <a:r>
              <a:rPr lang="fi-FI" sz="1400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Iterations</a:t>
            </a:r>
            <a:r>
              <a:rPr lang="fi-FI" sz="1400" dirty="0"/>
              <a:t> </a:t>
            </a:r>
            <a:r>
              <a:rPr lang="fi-FI" sz="1400" dirty="0" err="1"/>
              <a:t>must</a:t>
            </a:r>
            <a:r>
              <a:rPr lang="fi-FI" sz="1400" dirty="0"/>
              <a:t> </a:t>
            </a:r>
            <a:r>
              <a:rPr lang="fi-FI" sz="1400" dirty="0" err="1"/>
              <a:t>be</a:t>
            </a:r>
            <a:r>
              <a:rPr lang="fi-FI" sz="1400" dirty="0"/>
              <a:t> </a:t>
            </a:r>
            <a:r>
              <a:rPr lang="fi-FI" sz="1400" dirty="0" err="1"/>
              <a:t>timeboxed</a:t>
            </a:r>
            <a:r>
              <a:rPr lang="fi-FI" sz="1400" dirty="0"/>
              <a:t> to </a:t>
            </a:r>
            <a:r>
              <a:rPr lang="fi-FI" sz="1400" dirty="0" err="1"/>
              <a:t>less</a:t>
            </a:r>
            <a:r>
              <a:rPr lang="fi-FI" sz="1400" dirty="0"/>
              <a:t> </a:t>
            </a:r>
            <a:r>
              <a:rPr lang="fi-FI" sz="1400" dirty="0" err="1"/>
              <a:t>than</a:t>
            </a:r>
            <a:r>
              <a:rPr lang="fi-FI" sz="1400" dirty="0"/>
              <a:t> 4 </a:t>
            </a:r>
            <a:r>
              <a:rPr lang="fi-FI" sz="1400" dirty="0" err="1"/>
              <a:t>weeks</a:t>
            </a:r>
            <a:endParaRPr lang="fi-FI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/>
              <a:t>Software </a:t>
            </a:r>
            <a:r>
              <a:rPr lang="fi-FI" sz="1400" dirty="0" err="1"/>
              <a:t>features</a:t>
            </a:r>
            <a:r>
              <a:rPr lang="fi-FI" sz="1400" dirty="0"/>
              <a:t> </a:t>
            </a:r>
            <a:r>
              <a:rPr lang="fi-FI" sz="1400" dirty="0" err="1"/>
              <a:t>must</a:t>
            </a:r>
            <a:r>
              <a:rPr lang="fi-FI" sz="1400" dirty="0"/>
              <a:t> </a:t>
            </a:r>
            <a:r>
              <a:rPr lang="fi-FI" sz="1400" dirty="0" err="1"/>
              <a:t>be</a:t>
            </a:r>
            <a:r>
              <a:rPr lang="fi-FI" sz="1400" dirty="0"/>
              <a:t> </a:t>
            </a:r>
            <a:r>
              <a:rPr lang="fi-FI" sz="1400" dirty="0" err="1"/>
              <a:t>tested</a:t>
            </a:r>
            <a:r>
              <a:rPr lang="fi-FI" sz="1400" dirty="0"/>
              <a:t> and </a:t>
            </a:r>
            <a:r>
              <a:rPr lang="fi-FI" sz="1400" dirty="0" err="1"/>
              <a:t>working</a:t>
            </a:r>
            <a:r>
              <a:rPr lang="fi-FI" sz="1400" dirty="0"/>
              <a:t> at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end</a:t>
            </a:r>
            <a:r>
              <a:rPr lang="fi-FI" sz="1400" dirty="0"/>
              <a:t> of </a:t>
            </a:r>
            <a:r>
              <a:rPr lang="fi-FI" sz="1400" dirty="0" err="1"/>
              <a:t>each</a:t>
            </a:r>
            <a:r>
              <a:rPr lang="fi-FI" sz="1400" dirty="0"/>
              <a:t> </a:t>
            </a:r>
            <a:r>
              <a:rPr lang="fi-FI" sz="1400" dirty="0" err="1"/>
              <a:t>iteration</a:t>
            </a:r>
            <a:endParaRPr lang="fi-FI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Iteration</a:t>
            </a:r>
            <a:r>
              <a:rPr lang="fi-FI" sz="1400" dirty="0"/>
              <a:t> </a:t>
            </a:r>
            <a:r>
              <a:rPr lang="fi-FI" sz="1400" dirty="0" err="1"/>
              <a:t>must</a:t>
            </a:r>
            <a:r>
              <a:rPr lang="fi-FI" sz="1400" dirty="0"/>
              <a:t> </a:t>
            </a:r>
            <a:r>
              <a:rPr lang="fi-FI" sz="1400" dirty="0" err="1"/>
              <a:t>start</a:t>
            </a:r>
            <a:r>
              <a:rPr lang="fi-FI" sz="1400" dirty="0"/>
              <a:t> </a:t>
            </a:r>
            <a:r>
              <a:rPr lang="fi-FI" sz="1400" dirty="0" err="1"/>
              <a:t>before</a:t>
            </a:r>
            <a:r>
              <a:rPr lang="fi-FI" sz="1400" dirty="0"/>
              <a:t> </a:t>
            </a:r>
            <a:r>
              <a:rPr lang="fi-FI" sz="1400" dirty="0" err="1"/>
              <a:t>specification</a:t>
            </a:r>
            <a:r>
              <a:rPr lang="fi-FI" sz="1400" dirty="0"/>
              <a:t> is </a:t>
            </a:r>
            <a:r>
              <a:rPr lang="fi-FI" sz="1400" dirty="0" err="1"/>
              <a:t>complete</a:t>
            </a:r>
            <a:endParaRPr lang="fi-FI" sz="1400" dirty="0"/>
          </a:p>
          <a:p>
            <a:endParaRPr lang="fi-FI" sz="1400" dirty="0"/>
          </a:p>
          <a:p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next</a:t>
            </a:r>
            <a:r>
              <a:rPr lang="fi-FI" sz="1400" dirty="0"/>
              <a:t> </a:t>
            </a:r>
            <a:r>
              <a:rPr lang="fi-FI" sz="1400" dirty="0" err="1"/>
              <a:t>part</a:t>
            </a:r>
            <a:r>
              <a:rPr lang="fi-FI" sz="1400" dirty="0"/>
              <a:t> of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test</a:t>
            </a:r>
            <a:r>
              <a:rPr lang="fi-FI" sz="1400" dirty="0"/>
              <a:t> </a:t>
            </a:r>
            <a:r>
              <a:rPr lang="fi-FI" sz="1400" dirty="0" err="1"/>
              <a:t>checks</a:t>
            </a:r>
            <a:r>
              <a:rPr lang="fi-FI" sz="1400" dirty="0"/>
              <a:t> </a:t>
            </a:r>
            <a:r>
              <a:rPr lang="fi-FI" sz="1400" dirty="0" err="1"/>
              <a:t>whether</a:t>
            </a:r>
            <a:r>
              <a:rPr lang="fi-FI" sz="1400" dirty="0"/>
              <a:t> </a:t>
            </a:r>
            <a:r>
              <a:rPr lang="fi-FI" sz="1400" dirty="0" err="1"/>
              <a:t>you</a:t>
            </a:r>
            <a:r>
              <a:rPr lang="fi-FI" sz="1400" dirty="0"/>
              <a:t> </a:t>
            </a:r>
            <a:r>
              <a:rPr lang="fi-FI" sz="1400" dirty="0" err="1"/>
              <a:t>are</a:t>
            </a:r>
            <a:r>
              <a:rPr lang="fi-FI" sz="1400" dirty="0"/>
              <a:t> </a:t>
            </a:r>
            <a:r>
              <a:rPr lang="fi-FI" sz="1400" dirty="0" err="1"/>
              <a:t>doing</a:t>
            </a:r>
            <a:r>
              <a:rPr lang="fi-FI" sz="1400" dirty="0"/>
              <a:t> </a:t>
            </a:r>
            <a:r>
              <a:rPr lang="fi-FI" sz="1400" dirty="0" err="1"/>
              <a:t>Scrum</a:t>
            </a:r>
            <a:r>
              <a:rPr lang="fi-FI" sz="1400" dirty="0"/>
              <a:t> (in </a:t>
            </a:r>
            <a:r>
              <a:rPr lang="fi-FI" sz="1400" dirty="0" err="1"/>
              <a:t>Nokia's</a:t>
            </a:r>
            <a:r>
              <a:rPr lang="fi-FI" sz="1400" dirty="0"/>
              <a:t> </a:t>
            </a:r>
            <a:r>
              <a:rPr lang="fi-FI" sz="1400" dirty="0" err="1"/>
              <a:t>opinion</a:t>
            </a:r>
            <a:r>
              <a:rPr lang="fi-FI" sz="1400" dirty="0"/>
              <a:t>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You</a:t>
            </a:r>
            <a:r>
              <a:rPr lang="fi-FI" sz="1400" dirty="0"/>
              <a:t> </a:t>
            </a:r>
            <a:r>
              <a:rPr lang="fi-FI" sz="1400" dirty="0" err="1"/>
              <a:t>know</a:t>
            </a:r>
            <a:r>
              <a:rPr lang="fi-FI" sz="1400" dirty="0"/>
              <a:t> </a:t>
            </a:r>
            <a:r>
              <a:rPr lang="fi-FI" sz="1400" dirty="0" err="1"/>
              <a:t>who</a:t>
            </a:r>
            <a:r>
              <a:rPr lang="fi-FI" sz="1400" dirty="0"/>
              <a:t>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product</a:t>
            </a:r>
            <a:r>
              <a:rPr lang="fi-FI" sz="1400" dirty="0"/>
              <a:t> </a:t>
            </a:r>
            <a:r>
              <a:rPr lang="fi-FI" sz="1400" dirty="0" err="1"/>
              <a:t>owner</a:t>
            </a:r>
            <a:r>
              <a:rPr lang="fi-FI" sz="1400" dirty="0"/>
              <a:t> i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There</a:t>
            </a:r>
            <a:r>
              <a:rPr lang="fi-FI" sz="1400" dirty="0"/>
              <a:t> is a </a:t>
            </a:r>
            <a:r>
              <a:rPr lang="fi-FI" sz="1400" dirty="0" err="1"/>
              <a:t>product</a:t>
            </a:r>
            <a:r>
              <a:rPr lang="fi-FI" sz="1400" dirty="0"/>
              <a:t> </a:t>
            </a:r>
            <a:r>
              <a:rPr lang="fi-FI" sz="1400" dirty="0" err="1"/>
              <a:t>backlog</a:t>
            </a:r>
            <a:r>
              <a:rPr lang="fi-FI" sz="1400" dirty="0"/>
              <a:t> </a:t>
            </a:r>
            <a:r>
              <a:rPr lang="fi-FI" sz="1400" dirty="0" err="1"/>
              <a:t>prioritized</a:t>
            </a:r>
            <a:r>
              <a:rPr lang="fi-FI" sz="1400" dirty="0"/>
              <a:t> </a:t>
            </a:r>
            <a:r>
              <a:rPr lang="fi-FI" sz="1400" dirty="0" err="1"/>
              <a:t>by</a:t>
            </a:r>
            <a:r>
              <a:rPr lang="fi-FI" sz="1400" dirty="0"/>
              <a:t> business </a:t>
            </a:r>
            <a:r>
              <a:rPr lang="fi-FI" sz="1400" dirty="0" err="1"/>
              <a:t>value</a:t>
            </a:r>
            <a:r>
              <a:rPr lang="fi-FI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product</a:t>
            </a:r>
            <a:r>
              <a:rPr lang="fi-FI" sz="1400" dirty="0"/>
              <a:t> </a:t>
            </a:r>
            <a:r>
              <a:rPr lang="fi-FI" sz="1400" dirty="0" err="1"/>
              <a:t>backlog</a:t>
            </a:r>
            <a:r>
              <a:rPr lang="fi-FI" sz="1400" dirty="0"/>
              <a:t> </a:t>
            </a:r>
            <a:r>
              <a:rPr lang="fi-FI" sz="1400" dirty="0" err="1"/>
              <a:t>has</a:t>
            </a:r>
            <a:r>
              <a:rPr lang="fi-FI" sz="1400" dirty="0"/>
              <a:t> </a:t>
            </a:r>
            <a:r>
              <a:rPr lang="fi-FI" sz="1400" dirty="0" err="1"/>
              <a:t>estimates</a:t>
            </a:r>
            <a:r>
              <a:rPr lang="fi-FI" sz="1400" dirty="0"/>
              <a:t> </a:t>
            </a:r>
            <a:r>
              <a:rPr lang="fi-FI" sz="1400" dirty="0" err="1"/>
              <a:t>created</a:t>
            </a:r>
            <a:r>
              <a:rPr lang="fi-FI" sz="1400" dirty="0"/>
              <a:t> </a:t>
            </a:r>
            <a:r>
              <a:rPr lang="fi-FI" sz="1400" dirty="0" err="1"/>
              <a:t>by</a:t>
            </a:r>
            <a:r>
              <a:rPr lang="fi-FI" sz="1400" dirty="0"/>
              <a:t> </a:t>
            </a:r>
            <a:r>
              <a:rPr lang="fi-FI" sz="1400" dirty="0" err="1"/>
              <a:t>the</a:t>
            </a:r>
            <a:r>
              <a:rPr lang="fi-FI" sz="1400" dirty="0"/>
              <a:t> tea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The</a:t>
            </a:r>
            <a:r>
              <a:rPr lang="fi-FI" sz="1400" dirty="0"/>
              <a:t> team </a:t>
            </a:r>
            <a:r>
              <a:rPr lang="fi-FI" sz="1400" dirty="0" err="1"/>
              <a:t>generates</a:t>
            </a:r>
            <a:r>
              <a:rPr lang="fi-FI" sz="1400" dirty="0"/>
              <a:t> </a:t>
            </a:r>
            <a:r>
              <a:rPr lang="fi-FI" sz="1400" dirty="0" err="1"/>
              <a:t>burndown</a:t>
            </a:r>
            <a:r>
              <a:rPr lang="fi-FI" sz="1400" dirty="0"/>
              <a:t> </a:t>
            </a:r>
            <a:r>
              <a:rPr lang="fi-FI" sz="1400" dirty="0" err="1"/>
              <a:t>charts</a:t>
            </a:r>
            <a:r>
              <a:rPr lang="fi-FI" sz="1400" dirty="0"/>
              <a:t> and </a:t>
            </a:r>
            <a:r>
              <a:rPr lang="fi-FI" sz="1400" dirty="0" err="1"/>
              <a:t>knows</a:t>
            </a:r>
            <a:r>
              <a:rPr lang="fi-FI" sz="1400" dirty="0"/>
              <a:t> </a:t>
            </a:r>
            <a:r>
              <a:rPr lang="fi-FI" sz="1400" dirty="0" err="1"/>
              <a:t>their</a:t>
            </a:r>
            <a:r>
              <a:rPr lang="fi-FI" sz="1400" dirty="0"/>
              <a:t> </a:t>
            </a:r>
            <a:r>
              <a:rPr lang="fi-FI" sz="1400" dirty="0" err="1"/>
              <a:t>velocity</a:t>
            </a:r>
            <a:r>
              <a:rPr lang="fi-FI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There</a:t>
            </a:r>
            <a:r>
              <a:rPr lang="fi-FI" sz="1400" dirty="0"/>
              <a:t> </a:t>
            </a:r>
            <a:r>
              <a:rPr lang="fi-FI" sz="1400" dirty="0" err="1"/>
              <a:t>are</a:t>
            </a:r>
            <a:r>
              <a:rPr lang="fi-FI" sz="1400" dirty="0"/>
              <a:t> no </a:t>
            </a:r>
            <a:r>
              <a:rPr lang="fi-FI" sz="1400" dirty="0" err="1"/>
              <a:t>project</a:t>
            </a:r>
            <a:r>
              <a:rPr lang="fi-FI" sz="1400" dirty="0"/>
              <a:t> </a:t>
            </a:r>
            <a:r>
              <a:rPr lang="fi-FI" sz="1400" dirty="0" err="1"/>
              <a:t>managers</a:t>
            </a:r>
            <a:r>
              <a:rPr lang="fi-FI" sz="1400" dirty="0"/>
              <a:t> (</a:t>
            </a:r>
            <a:r>
              <a:rPr lang="fi-FI" sz="1400" dirty="0" err="1"/>
              <a:t>or</a:t>
            </a:r>
            <a:r>
              <a:rPr lang="fi-FI" sz="1400" dirty="0"/>
              <a:t> </a:t>
            </a:r>
            <a:r>
              <a:rPr lang="fi-FI" sz="1400" dirty="0" err="1"/>
              <a:t>anyone</a:t>
            </a:r>
            <a:r>
              <a:rPr lang="fi-FI" sz="1400" dirty="0"/>
              <a:t> </a:t>
            </a:r>
            <a:r>
              <a:rPr lang="fi-FI" sz="1400" dirty="0" err="1"/>
              <a:t>else</a:t>
            </a:r>
            <a:r>
              <a:rPr lang="fi-FI" sz="1400" dirty="0"/>
              <a:t>) </a:t>
            </a:r>
            <a:r>
              <a:rPr lang="fi-FI" sz="1400" dirty="0" err="1"/>
              <a:t>disrupting</a:t>
            </a:r>
            <a:r>
              <a:rPr lang="fi-FI" sz="1400" dirty="0"/>
              <a:t>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work</a:t>
            </a:r>
            <a:r>
              <a:rPr lang="fi-FI" sz="1400" dirty="0"/>
              <a:t> of </a:t>
            </a:r>
            <a:r>
              <a:rPr lang="fi-FI" sz="1400" dirty="0" err="1"/>
              <a:t>the</a:t>
            </a:r>
            <a:r>
              <a:rPr lang="fi-FI" sz="1400" dirty="0"/>
              <a:t> tea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994224-CE72-D74A-B548-F05F5BBCBC46}"/>
              </a:ext>
            </a:extLst>
          </p:cNvPr>
          <p:cNvSpPr txBox="1"/>
          <p:nvPr/>
        </p:nvSpPr>
        <p:spPr>
          <a:xfrm>
            <a:off x="330067" y="3382985"/>
            <a:ext cx="8464512" cy="144655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fi-FI" b="1" dirty="0" err="1"/>
              <a:t>Add</a:t>
            </a:r>
            <a:r>
              <a:rPr lang="fi-FI" b="1" dirty="0"/>
              <a:t> </a:t>
            </a:r>
            <a:r>
              <a:rPr lang="fi-FI" b="1" dirty="0" err="1"/>
              <a:t>these</a:t>
            </a:r>
            <a:r>
              <a:rPr lang="fi-FI" b="1" dirty="0"/>
              <a:t> at </a:t>
            </a:r>
            <a:r>
              <a:rPr lang="fi-FI" b="1" dirty="0" err="1"/>
              <a:t>least</a:t>
            </a:r>
            <a:r>
              <a:rPr lang="fi-FI" b="1" dirty="0"/>
              <a:t>: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Timebox</a:t>
            </a:r>
            <a:r>
              <a:rPr lang="fi-FI" sz="1400" dirty="0"/>
              <a:t> is </a:t>
            </a:r>
            <a:r>
              <a:rPr lang="fi-FI" sz="1400" dirty="0" err="1"/>
              <a:t>one</a:t>
            </a:r>
            <a:r>
              <a:rPr lang="fi-FI" sz="1400" dirty="0"/>
              <a:t> (</a:t>
            </a:r>
            <a:r>
              <a:rPr lang="fi-FI" sz="1400" dirty="0" err="1"/>
              <a:t>preferably</a:t>
            </a:r>
            <a:r>
              <a:rPr lang="fi-FI" sz="1400" dirty="0"/>
              <a:t>) </a:t>
            </a:r>
            <a:r>
              <a:rPr lang="fi-FI" sz="1400" dirty="0" err="1"/>
              <a:t>or</a:t>
            </a:r>
            <a:r>
              <a:rPr lang="fi-FI" sz="1400" dirty="0"/>
              <a:t> </a:t>
            </a:r>
            <a:r>
              <a:rPr lang="fi-FI" sz="1400" dirty="0" err="1"/>
              <a:t>two</a:t>
            </a:r>
            <a:r>
              <a:rPr lang="fi-FI" sz="1400" dirty="0"/>
              <a:t> </a:t>
            </a:r>
            <a:r>
              <a:rPr lang="fi-FI" sz="1400" dirty="0" err="1"/>
              <a:t>weeks</a:t>
            </a:r>
            <a:endParaRPr lang="fi-FI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Are</a:t>
            </a:r>
            <a:r>
              <a:rPr lang="fi-FI" sz="1400" dirty="0"/>
              <a:t> </a:t>
            </a:r>
            <a:r>
              <a:rPr lang="fi-FI" sz="1400" dirty="0" err="1"/>
              <a:t>you</a:t>
            </a:r>
            <a:r>
              <a:rPr lang="fi-FI" sz="1400" dirty="0"/>
              <a:t> </a:t>
            </a:r>
            <a:r>
              <a:rPr lang="fi-FI" sz="1400" dirty="0" err="1"/>
              <a:t>doing</a:t>
            </a:r>
            <a:r>
              <a:rPr lang="fi-FI" sz="1400" dirty="0"/>
              <a:t> </a:t>
            </a:r>
            <a:r>
              <a:rPr lang="fi-FI" sz="1400" dirty="0" err="1"/>
              <a:t>retrospectives</a:t>
            </a:r>
            <a:r>
              <a:rPr lang="fi-FI" sz="1400" dirty="0"/>
              <a:t> at </a:t>
            </a:r>
            <a:r>
              <a:rPr lang="fi-FI" sz="1400" dirty="0" err="1"/>
              <a:t>end</a:t>
            </a:r>
            <a:r>
              <a:rPr lang="fi-FI" sz="1400" dirty="0"/>
              <a:t> of </a:t>
            </a:r>
            <a:r>
              <a:rPr lang="fi-FI" sz="1400" dirty="0" err="1"/>
              <a:t>each</a:t>
            </a:r>
            <a:r>
              <a:rPr lang="fi-FI" sz="1400" dirty="0"/>
              <a:t> </a:t>
            </a:r>
            <a:r>
              <a:rPr lang="fi-FI" sz="1400" dirty="0" err="1"/>
              <a:t>iteration</a:t>
            </a:r>
            <a:r>
              <a:rPr lang="fi-FI" sz="1400" dirty="0"/>
              <a:t>  + </a:t>
            </a:r>
            <a:r>
              <a:rPr lang="fi-FI" sz="1400" dirty="0" err="1"/>
              <a:t>from</a:t>
            </a:r>
            <a:r>
              <a:rPr lang="fi-FI" sz="1400" dirty="0"/>
              <a:t>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retro</a:t>
            </a:r>
            <a:r>
              <a:rPr lang="fi-FI" sz="1400" dirty="0"/>
              <a:t> </a:t>
            </a:r>
            <a:r>
              <a:rPr lang="fi-FI" sz="1400" dirty="0" err="1"/>
              <a:t>during</a:t>
            </a:r>
            <a:r>
              <a:rPr lang="fi-FI" sz="1400" dirty="0"/>
              <a:t> </a:t>
            </a:r>
            <a:r>
              <a:rPr lang="fi-FI" sz="1400" dirty="0" err="1"/>
              <a:t>next</a:t>
            </a:r>
            <a:r>
              <a:rPr lang="fi-FI" sz="1400" dirty="0"/>
              <a:t> </a:t>
            </a:r>
            <a:r>
              <a:rPr lang="fi-FI" sz="1400" dirty="0" err="1"/>
              <a:t>sprint</a:t>
            </a:r>
            <a:r>
              <a:rPr lang="fi-FI" sz="1400" dirty="0"/>
              <a:t>. </a:t>
            </a:r>
            <a:r>
              <a:rPr lang="fi-FI" sz="1400" b="1" dirty="0" err="1"/>
              <a:t>doing</a:t>
            </a:r>
            <a:r>
              <a:rPr lang="fi-FI" sz="1400" b="1" dirty="0"/>
              <a:t> at </a:t>
            </a:r>
            <a:r>
              <a:rPr lang="fi-FI" sz="1400" b="1" dirty="0" err="1"/>
              <a:t>least</a:t>
            </a:r>
            <a:r>
              <a:rPr lang="fi-FI" sz="1400" b="1" dirty="0"/>
              <a:t> </a:t>
            </a:r>
            <a:r>
              <a:rPr lang="fi-FI" sz="1400" b="1" dirty="0" err="1"/>
              <a:t>one</a:t>
            </a:r>
            <a:r>
              <a:rPr lang="fi-FI" sz="1400" b="1" dirty="0"/>
              <a:t> </a:t>
            </a:r>
            <a:r>
              <a:rPr lang="fi-FI" sz="1400" b="1" dirty="0" err="1"/>
              <a:t>item</a:t>
            </a:r>
            <a:endParaRPr lang="fi-FI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Do</a:t>
            </a:r>
            <a:r>
              <a:rPr lang="fi-FI" sz="1400" dirty="0"/>
              <a:t> </a:t>
            </a:r>
            <a:r>
              <a:rPr lang="fi-FI" sz="1400" dirty="0" err="1"/>
              <a:t>all</a:t>
            </a:r>
            <a:r>
              <a:rPr lang="fi-FI" sz="1400" dirty="0"/>
              <a:t>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developers</a:t>
            </a:r>
            <a:r>
              <a:rPr lang="fi-FI" sz="1400" dirty="0"/>
              <a:t> </a:t>
            </a:r>
            <a:r>
              <a:rPr lang="fi-FI" sz="1400" dirty="0" err="1"/>
              <a:t>check</a:t>
            </a:r>
            <a:r>
              <a:rPr lang="fi-FI" sz="1400" dirty="0"/>
              <a:t> in </a:t>
            </a:r>
            <a:r>
              <a:rPr lang="fi-FI" sz="1400" dirty="0" err="1"/>
              <a:t>their</a:t>
            </a:r>
            <a:r>
              <a:rPr lang="fi-FI" sz="1400" dirty="0"/>
              <a:t> </a:t>
            </a:r>
            <a:r>
              <a:rPr lang="fi-FI" sz="1400" dirty="0" err="1"/>
              <a:t>code</a:t>
            </a:r>
            <a:r>
              <a:rPr lang="fi-FI" sz="1400" dirty="0"/>
              <a:t> at </a:t>
            </a:r>
            <a:r>
              <a:rPr lang="fi-FI" sz="1400" dirty="0" err="1"/>
              <a:t>least</a:t>
            </a:r>
            <a:r>
              <a:rPr lang="fi-FI" sz="1400" dirty="0"/>
              <a:t> </a:t>
            </a:r>
            <a:r>
              <a:rPr lang="fi-FI" sz="1400" dirty="0" err="1"/>
              <a:t>once</a:t>
            </a:r>
            <a:r>
              <a:rPr lang="fi-FI" sz="1400" dirty="0"/>
              <a:t> a </a:t>
            </a:r>
            <a:r>
              <a:rPr lang="fi-FI" sz="1400" dirty="0" err="1"/>
              <a:t>day</a:t>
            </a:r>
            <a:r>
              <a:rPr lang="fi-FI" sz="1400" dirty="0"/>
              <a:t> and </a:t>
            </a:r>
            <a:r>
              <a:rPr lang="fi-FI" sz="1400" dirty="0" err="1"/>
              <a:t>integrate</a:t>
            </a:r>
            <a:r>
              <a:rPr lang="fi-FI" sz="1400" dirty="0"/>
              <a:t> it in C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Are</a:t>
            </a:r>
            <a:r>
              <a:rPr lang="fi-FI" sz="1400" dirty="0"/>
              <a:t> </a:t>
            </a:r>
            <a:r>
              <a:rPr lang="fi-FI" sz="1400" dirty="0" err="1"/>
              <a:t>you</a:t>
            </a:r>
            <a:r>
              <a:rPr lang="fi-FI" sz="1400" dirty="0"/>
              <a:t> </a:t>
            </a:r>
            <a:r>
              <a:rPr lang="fi-FI" sz="1400" dirty="0" err="1"/>
              <a:t>shipping</a:t>
            </a:r>
            <a:r>
              <a:rPr lang="fi-FI" sz="1400" dirty="0"/>
              <a:t> to </a:t>
            </a:r>
            <a:r>
              <a:rPr lang="fi-FI" sz="1400" dirty="0" err="1"/>
              <a:t>production</a:t>
            </a:r>
            <a:r>
              <a:rPr lang="fi-FI" sz="1400" dirty="0"/>
              <a:t> at </a:t>
            </a:r>
            <a:r>
              <a:rPr lang="fi-FI" sz="1400" dirty="0" err="1"/>
              <a:t>least</a:t>
            </a:r>
            <a:r>
              <a:rPr lang="fi-FI" sz="1400" dirty="0"/>
              <a:t> </a:t>
            </a:r>
            <a:r>
              <a:rPr lang="fi-FI" sz="1400" dirty="0" err="1"/>
              <a:t>once</a:t>
            </a:r>
            <a:r>
              <a:rPr lang="fi-FI" sz="1400" dirty="0"/>
              <a:t> per </a:t>
            </a:r>
            <a:r>
              <a:rPr lang="fi-FI" sz="1400" dirty="0" err="1"/>
              <a:t>iteration</a:t>
            </a:r>
            <a:endParaRPr lang="fi-FI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8A26EB-E973-BA49-8D69-678CAC6A93CD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F943EF-C40B-B046-BE28-AE1A07C12963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21411641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08DEE4-6EF0-FC48-A77F-27161654F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Scrum</a:t>
            </a:r>
            <a:endParaRPr lang="fi-FI" dirty="0"/>
          </a:p>
        </p:txBody>
      </p:sp>
      <p:pic>
        <p:nvPicPr>
          <p:cNvPr id="5" name="Content Placeholder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45BC6D3A-49C0-A64F-97D3-A4049ABC1E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2425" y="1181433"/>
            <a:ext cx="7848600" cy="3137822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9778ED9-BB2A-D24F-86D8-E771F453460E}"/>
              </a:ext>
            </a:extLst>
          </p:cNvPr>
          <p:cNvSpPr/>
          <p:nvPr/>
        </p:nvSpPr>
        <p:spPr>
          <a:xfrm>
            <a:off x="3779912" y="4220170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i-FI" dirty="0" err="1"/>
              <a:t>https</a:t>
            </a:r>
            <a:r>
              <a:rPr lang="fi-FI" dirty="0"/>
              <a:t>://</a:t>
            </a:r>
            <a:r>
              <a:rPr lang="fi-FI" dirty="0" err="1"/>
              <a:t>www.ntaskmanager.com</a:t>
            </a:r>
            <a:r>
              <a:rPr lang="fi-FI" dirty="0"/>
              <a:t>/</a:t>
            </a:r>
            <a:r>
              <a:rPr lang="fi-FI" dirty="0" err="1"/>
              <a:t>blog</a:t>
            </a:r>
            <a:r>
              <a:rPr lang="fi-FI" dirty="0"/>
              <a:t>/newbies-guide-to-scrum-project-management-101/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932245-10FC-4B4E-93E6-1C6E227858BE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797087-F37F-8843-AFA8-B20E6186B79A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42937032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5D0435-5DE1-6F4B-B206-9D237C69F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Scrum</a:t>
            </a:r>
            <a:r>
              <a:rPr lang="fi-FI" dirty="0"/>
              <a:t> </a:t>
            </a:r>
          </a:p>
        </p:txBody>
      </p:sp>
      <p:pic>
        <p:nvPicPr>
          <p:cNvPr id="5" name="Content Placeholder 4" descr="A close up of a map&#10;&#10;Description automatically generated">
            <a:extLst>
              <a:ext uri="{FF2B5EF4-FFF2-40B4-BE49-F238E27FC236}">
                <a16:creationId xmlns:a16="http://schemas.microsoft.com/office/drawing/2014/main" id="{0986A552-DE72-BF4B-99BF-AF697E3608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19672" y="260193"/>
            <a:ext cx="6137271" cy="4742437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7FF459F-B0CC-C14E-8BAF-4315AA67DBE8}"/>
              </a:ext>
            </a:extLst>
          </p:cNvPr>
          <p:cNvSpPr/>
          <p:nvPr/>
        </p:nvSpPr>
        <p:spPr>
          <a:xfrm>
            <a:off x="4211960" y="4719900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i-FI" sz="1400" dirty="0" err="1"/>
              <a:t>https</a:t>
            </a:r>
            <a:r>
              <a:rPr lang="fi-FI" sz="1400" dirty="0"/>
              <a:t>://</a:t>
            </a:r>
            <a:r>
              <a:rPr lang="fi-FI" sz="1400" dirty="0" err="1"/>
              <a:t>www.scruminc.com</a:t>
            </a:r>
            <a:r>
              <a:rPr lang="fi-FI" sz="1400" dirty="0"/>
              <a:t>/the-3-5-3-of-scrum/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4289A3-E4DF-DF49-A7B4-FF2FDF6680F2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D52E1A-D4FC-434F-8948-B0F813EB677E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8312718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7F1E4F-1CFF-5643-939E-217C01CDF565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375" y="0"/>
            <a:ext cx="7715250" cy="5143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657A56-FF1E-A442-9D91-32A7B4A5AEB6}"/>
              </a:ext>
            </a:extLst>
          </p:cNvPr>
          <p:cNvSpPr txBox="1"/>
          <p:nvPr/>
        </p:nvSpPr>
        <p:spPr>
          <a:xfrm>
            <a:off x="-1756" y="915566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</p:spTree>
    <p:extLst>
      <p:ext uri="{BB962C8B-B14F-4D97-AF65-F5344CB8AC3E}">
        <p14:creationId xmlns:p14="http://schemas.microsoft.com/office/powerpoint/2010/main" val="14882056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pilvitausta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9144000" cy="5179150"/>
          </a:xfrm>
          <a:prstGeom prst="rect">
            <a:avLst/>
          </a:prstGeom>
          <a:grpFill/>
          <a:ln>
            <a:noFill/>
          </a:ln>
        </p:spPr>
      </p:pic>
      <p:grpSp>
        <p:nvGrpSpPr>
          <p:cNvPr id="32" name="Group 31"/>
          <p:cNvGrpSpPr/>
          <p:nvPr/>
        </p:nvGrpSpPr>
        <p:grpSpPr>
          <a:xfrm>
            <a:off x="0" y="2421389"/>
            <a:ext cx="9144000" cy="1383848"/>
            <a:chOff x="0" y="2421389"/>
            <a:chExt cx="9144000" cy="1383848"/>
          </a:xfrm>
        </p:grpSpPr>
        <p:sp>
          <p:nvSpPr>
            <p:cNvPr id="20" name="Rectangle 19"/>
            <p:cNvSpPr/>
            <p:nvPr/>
          </p:nvSpPr>
          <p:spPr>
            <a:xfrm>
              <a:off x="0" y="3151323"/>
              <a:ext cx="9144000" cy="653914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>
                <a:solidFill>
                  <a:srgbClr val="FFFFFF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4311" y="2435209"/>
              <a:ext cx="646750" cy="632931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56376" y="2422191"/>
              <a:ext cx="613583" cy="630167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7423" y="2461466"/>
              <a:ext cx="544486" cy="580417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11081" y="2421389"/>
              <a:ext cx="530667" cy="660570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44878" y="2431063"/>
              <a:ext cx="533430" cy="641223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8158" y="2492159"/>
              <a:ext cx="569362" cy="533430"/>
            </a:xfrm>
            <a:prstGeom prst="rect">
              <a:avLst/>
            </a:prstGeom>
          </p:spPr>
        </p:pic>
      </p:grpSp>
      <p:sp>
        <p:nvSpPr>
          <p:cNvPr id="5" name="Rectangle 4"/>
          <p:cNvSpPr/>
          <p:nvPr/>
        </p:nvSpPr>
        <p:spPr>
          <a:xfrm>
            <a:off x="1739648" y="3851400"/>
            <a:ext cx="145809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100" dirty="0">
                <a:solidFill>
                  <a:srgbClr val="000000"/>
                </a:solidFill>
              </a:rPr>
              <a:t>Digital </a:t>
            </a:r>
            <a:r>
              <a:rPr lang="fi-FI" sz="1100" dirty="0" err="1">
                <a:solidFill>
                  <a:srgbClr val="000000"/>
                </a:solidFill>
              </a:rPr>
              <a:t>services</a:t>
            </a:r>
            <a:r>
              <a:rPr lang="fi-FI" sz="1100" dirty="0">
                <a:solidFill>
                  <a:srgbClr val="000000"/>
                </a:solidFill>
              </a:rPr>
              <a:t> in </a:t>
            </a:r>
            <a:r>
              <a:rPr lang="fi-FI" sz="1100" dirty="0" err="1">
                <a:solidFill>
                  <a:srgbClr val="000000"/>
                </a:solidFill>
              </a:rPr>
              <a:t>application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service</a:t>
            </a:r>
            <a:r>
              <a:rPr lang="fi-FI" sz="1100" dirty="0">
                <a:solidFill>
                  <a:srgbClr val="000000"/>
                </a:solidFill>
              </a:rPr>
              <a:t> and </a:t>
            </a:r>
            <a:r>
              <a:rPr lang="fi-FI" sz="1100" dirty="0" err="1">
                <a:solidFill>
                  <a:srgbClr val="000000"/>
                </a:solidFill>
              </a:rPr>
              <a:t>development</a:t>
            </a:r>
            <a:endParaRPr lang="fi-FI" sz="1100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39744" y="3202381"/>
            <a:ext cx="145800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3800" dirty="0">
                <a:solidFill>
                  <a:srgbClr val="00BAF2"/>
                </a:solidFill>
              </a:rPr>
              <a:t>+100</a:t>
            </a:r>
            <a:endParaRPr lang="fi-FI" sz="2400" b="1" dirty="0">
              <a:solidFill>
                <a:srgbClr val="00BAF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5184" y="3851400"/>
            <a:ext cx="145809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100" dirty="0" err="1">
                <a:solidFill>
                  <a:srgbClr val="000000"/>
                </a:solidFill>
              </a:rPr>
              <a:t>contact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point</a:t>
            </a:r>
            <a:r>
              <a:rPr lang="fi-FI" sz="1100" dirty="0">
                <a:solidFill>
                  <a:srgbClr val="000000"/>
                </a:solidFill>
              </a:rPr>
              <a:t> to </a:t>
            </a:r>
            <a:r>
              <a:rPr lang="fi-FI" sz="1100" dirty="0" err="1">
                <a:solidFill>
                  <a:srgbClr val="000000"/>
                </a:solidFill>
              </a:rPr>
              <a:t>lead</a:t>
            </a:r>
            <a:r>
              <a:rPr lang="fi-FI" sz="1100" dirty="0">
                <a:solidFill>
                  <a:srgbClr val="000000"/>
                </a:solidFill>
              </a:rPr>
              <a:t> a team </a:t>
            </a:r>
            <a:r>
              <a:rPr lang="fi-FI" sz="1100" dirty="0" err="1">
                <a:solidFill>
                  <a:srgbClr val="000000"/>
                </a:solidFill>
              </a:rPr>
              <a:t>built</a:t>
            </a:r>
            <a:r>
              <a:rPr lang="fi-FI" sz="1100" dirty="0">
                <a:solidFill>
                  <a:srgbClr val="000000"/>
                </a:solidFill>
              </a:rPr>
              <a:t> for </a:t>
            </a:r>
            <a:r>
              <a:rPr lang="fi-FI" sz="1100" dirty="0" err="1">
                <a:solidFill>
                  <a:srgbClr val="000000"/>
                </a:solidFill>
              </a:rPr>
              <a:t>you</a:t>
            </a:r>
            <a:endParaRPr lang="fi-FI" sz="1100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7745" y="3202381"/>
            <a:ext cx="1458096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3800" dirty="0">
                <a:solidFill>
                  <a:srgbClr val="00BAF2"/>
                </a:solidFill>
              </a:rPr>
              <a:t>1</a:t>
            </a:r>
            <a:endParaRPr lang="fi-FI" sz="2400" b="1" dirty="0">
              <a:solidFill>
                <a:srgbClr val="00BAF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21904" y="3851400"/>
            <a:ext cx="145809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100" dirty="0" err="1">
                <a:solidFill>
                  <a:srgbClr val="000000"/>
                </a:solidFill>
              </a:rPr>
              <a:t>developers</a:t>
            </a:r>
            <a:r>
              <a:rPr lang="fi-FI" sz="1100" dirty="0">
                <a:solidFill>
                  <a:srgbClr val="000000"/>
                </a:solidFill>
              </a:rPr>
              <a:t> at </a:t>
            </a:r>
            <a:r>
              <a:rPr lang="fi-FI" sz="1100" dirty="0" err="1">
                <a:solidFill>
                  <a:srgbClr val="000000"/>
                </a:solidFill>
              </a:rPr>
              <a:t>your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service</a:t>
            </a:r>
            <a:endParaRPr lang="fi-FI" sz="1100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57952" y="3202381"/>
            <a:ext cx="145800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3800" dirty="0">
                <a:solidFill>
                  <a:srgbClr val="00BAF2"/>
                </a:solidFill>
              </a:rPr>
              <a:t>200</a:t>
            </a:r>
            <a:endParaRPr lang="fi-FI" sz="2400" b="1" dirty="0">
              <a:solidFill>
                <a:srgbClr val="00BAF2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136240" y="3851400"/>
            <a:ext cx="145809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100" dirty="0" err="1">
                <a:solidFill>
                  <a:srgbClr val="000000"/>
                </a:solidFill>
              </a:rPr>
              <a:t>Fast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start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with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one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week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sprint</a:t>
            </a:r>
            <a:endParaRPr lang="fi-FI" sz="1100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72288" y="3202381"/>
            <a:ext cx="145800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3800" dirty="0">
                <a:solidFill>
                  <a:srgbClr val="00BAF2"/>
                </a:solidFill>
              </a:rPr>
              <a:t>1 </a:t>
            </a:r>
            <a:r>
              <a:rPr lang="fi-FI" sz="3800" dirty="0" err="1">
                <a:solidFill>
                  <a:srgbClr val="00BAF2"/>
                </a:solidFill>
              </a:rPr>
              <a:t>wk</a:t>
            </a:r>
            <a:endParaRPr lang="fi-FI" sz="2400" b="1" dirty="0">
              <a:solidFill>
                <a:srgbClr val="00BAF2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06864" y="3851400"/>
            <a:ext cx="174273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100" dirty="0" err="1">
                <a:solidFill>
                  <a:srgbClr val="000000"/>
                </a:solidFill>
              </a:rPr>
              <a:t>Support</a:t>
            </a:r>
            <a:endParaRPr lang="fi-FI" sz="1100" dirty="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685392" y="3202381"/>
            <a:ext cx="1458096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3800" dirty="0">
                <a:solidFill>
                  <a:srgbClr val="00BAF2"/>
                </a:solidFill>
              </a:rPr>
              <a:t>24/7</a:t>
            </a:r>
            <a:endParaRPr lang="fi-FI" sz="2400" b="1" dirty="0">
              <a:solidFill>
                <a:srgbClr val="00BAF2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541904" y="3851400"/>
            <a:ext cx="145809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100" dirty="0" err="1">
                <a:solidFill>
                  <a:srgbClr val="000000"/>
                </a:solidFill>
              </a:rPr>
              <a:t>All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followup</a:t>
            </a:r>
            <a:r>
              <a:rPr lang="fi-FI" sz="1100" dirty="0">
                <a:solidFill>
                  <a:srgbClr val="000000"/>
                </a:solidFill>
              </a:rPr>
              <a:t> and </a:t>
            </a:r>
            <a:r>
              <a:rPr lang="fi-FI" sz="1100" dirty="0" err="1">
                <a:solidFill>
                  <a:srgbClr val="000000"/>
                </a:solidFill>
              </a:rPr>
              <a:t>monitoring</a:t>
            </a:r>
            <a:r>
              <a:rPr lang="fi-FI" sz="1100" dirty="0">
                <a:solidFill>
                  <a:srgbClr val="000000"/>
                </a:solidFill>
              </a:rPr>
              <a:t> </a:t>
            </a:r>
            <a:r>
              <a:rPr lang="fi-FI" sz="1100" dirty="0" err="1">
                <a:solidFill>
                  <a:srgbClr val="000000"/>
                </a:solidFill>
              </a:rPr>
              <a:t>from</a:t>
            </a:r>
            <a:r>
              <a:rPr lang="fi-FI" sz="1100" dirty="0">
                <a:solidFill>
                  <a:srgbClr val="000000"/>
                </a:solidFill>
              </a:rPr>
              <a:t> single </a:t>
            </a:r>
            <a:r>
              <a:rPr lang="fi-FI" sz="1100" dirty="0" err="1">
                <a:solidFill>
                  <a:srgbClr val="000000"/>
                </a:solidFill>
              </a:rPr>
              <a:t>point</a:t>
            </a:r>
            <a:endParaRPr lang="fi-FI" sz="1100" dirty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577952" y="3202381"/>
            <a:ext cx="145800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3800" dirty="0">
                <a:solidFill>
                  <a:srgbClr val="00BAF2"/>
                </a:solidFill>
              </a:rPr>
              <a:t>1</a:t>
            </a:r>
            <a:endParaRPr lang="fi-FI" sz="2400" b="1" dirty="0">
              <a:solidFill>
                <a:srgbClr val="00BAF2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13792" y="689242"/>
            <a:ext cx="50223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2800" dirty="0" err="1">
                <a:solidFill>
                  <a:srgbClr val="0019AF"/>
                </a:solidFill>
              </a:rPr>
              <a:t>Did</a:t>
            </a:r>
            <a:r>
              <a:rPr lang="fi-FI" sz="2800" dirty="0">
                <a:solidFill>
                  <a:srgbClr val="0019AF"/>
                </a:solidFill>
              </a:rPr>
              <a:t> </a:t>
            </a:r>
            <a:r>
              <a:rPr lang="fi-FI" sz="2800" dirty="0" err="1">
                <a:solidFill>
                  <a:srgbClr val="0019AF"/>
                </a:solidFill>
              </a:rPr>
              <a:t>you</a:t>
            </a:r>
            <a:r>
              <a:rPr lang="fi-FI" sz="2800" dirty="0">
                <a:solidFill>
                  <a:srgbClr val="0019AF"/>
                </a:solidFill>
              </a:rPr>
              <a:t> </a:t>
            </a:r>
            <a:r>
              <a:rPr lang="fi-FI" sz="2800" dirty="0" err="1">
                <a:solidFill>
                  <a:srgbClr val="0019AF"/>
                </a:solidFill>
              </a:rPr>
              <a:t>know</a:t>
            </a:r>
            <a:r>
              <a:rPr lang="fi-FI" sz="2800" dirty="0">
                <a:solidFill>
                  <a:srgbClr val="0019AF"/>
                </a:solidFill>
              </a:rPr>
              <a:t> </a:t>
            </a:r>
            <a:r>
              <a:rPr lang="fi-FI" sz="2800" dirty="0" err="1">
                <a:solidFill>
                  <a:srgbClr val="0019AF"/>
                </a:solidFill>
              </a:rPr>
              <a:t>this</a:t>
            </a:r>
            <a:r>
              <a:rPr lang="fi-FI" sz="2800" dirty="0">
                <a:solidFill>
                  <a:srgbClr val="0019AF"/>
                </a:solidFill>
              </a:rPr>
              <a:t> </a:t>
            </a:r>
            <a:r>
              <a:rPr lang="fi-FI" sz="2800" dirty="0" err="1">
                <a:solidFill>
                  <a:srgbClr val="0019AF"/>
                </a:solidFill>
              </a:rPr>
              <a:t>about</a:t>
            </a:r>
            <a:r>
              <a:rPr lang="fi-FI" sz="2800" dirty="0">
                <a:solidFill>
                  <a:srgbClr val="0019AF"/>
                </a:solidFill>
              </a:rPr>
              <a:t> Elisa as a </a:t>
            </a:r>
            <a:r>
              <a:rPr lang="fi-FI" sz="2800" dirty="0" err="1">
                <a:solidFill>
                  <a:srgbClr val="0019AF"/>
                </a:solidFill>
              </a:rPr>
              <a:t>builder</a:t>
            </a:r>
            <a:r>
              <a:rPr lang="fi-FI" sz="2800" dirty="0">
                <a:solidFill>
                  <a:srgbClr val="0019AF"/>
                </a:solidFill>
              </a:rPr>
              <a:t> of </a:t>
            </a:r>
            <a:r>
              <a:rPr lang="fi-FI" sz="2800" dirty="0" err="1">
                <a:solidFill>
                  <a:srgbClr val="0019AF"/>
                </a:solidFill>
              </a:rPr>
              <a:t>unique</a:t>
            </a:r>
            <a:r>
              <a:rPr lang="fi-FI" sz="2800" dirty="0">
                <a:solidFill>
                  <a:srgbClr val="0019AF"/>
                </a:solidFill>
              </a:rPr>
              <a:t> </a:t>
            </a:r>
            <a:r>
              <a:rPr lang="fi-FI" sz="2800" dirty="0" err="1">
                <a:solidFill>
                  <a:srgbClr val="0019AF"/>
                </a:solidFill>
              </a:rPr>
              <a:t>digital</a:t>
            </a:r>
            <a:r>
              <a:rPr lang="fi-FI" sz="2800" dirty="0">
                <a:solidFill>
                  <a:srgbClr val="0019AF"/>
                </a:solidFill>
              </a:rPr>
              <a:t> </a:t>
            </a:r>
            <a:r>
              <a:rPr lang="fi-FI" sz="2800" dirty="0" err="1">
                <a:solidFill>
                  <a:srgbClr val="0019AF"/>
                </a:solidFill>
              </a:rPr>
              <a:t>services</a:t>
            </a:r>
            <a:endParaRPr lang="fi-FI" sz="2800" dirty="0">
              <a:solidFill>
                <a:srgbClr val="0019AF"/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6171786" y="248973"/>
            <a:ext cx="1844150" cy="184415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142278" y="810365"/>
            <a:ext cx="192892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100" b="1" dirty="0">
                <a:solidFill>
                  <a:srgbClr val="00BAF2"/>
                </a:solidFill>
              </a:rPr>
              <a:t>96% of </a:t>
            </a:r>
            <a:r>
              <a:rPr lang="fi-FI" sz="1100" b="1" dirty="0" err="1">
                <a:solidFill>
                  <a:srgbClr val="00BAF2"/>
                </a:solidFill>
              </a:rPr>
              <a:t>the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customers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who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moved</a:t>
            </a:r>
            <a:r>
              <a:rPr lang="fi-FI" sz="1100" b="1" dirty="0">
                <a:solidFill>
                  <a:srgbClr val="00BAF2"/>
                </a:solidFill>
              </a:rPr>
              <a:t> to </a:t>
            </a:r>
            <a:r>
              <a:rPr lang="fi-FI" sz="1100" b="1" dirty="0" err="1">
                <a:solidFill>
                  <a:srgbClr val="00BAF2"/>
                </a:solidFill>
              </a:rPr>
              <a:t>our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application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service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have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ordered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more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services</a:t>
            </a:r>
            <a:r>
              <a:rPr lang="fi-FI" sz="1100" b="1" dirty="0">
                <a:solidFill>
                  <a:srgbClr val="00BAF2"/>
                </a:solidFill>
              </a:rPr>
              <a:t> </a:t>
            </a:r>
            <a:r>
              <a:rPr lang="fi-FI" sz="1100" b="1" dirty="0" err="1">
                <a:solidFill>
                  <a:srgbClr val="00BAF2"/>
                </a:solidFill>
              </a:rPr>
              <a:t>from</a:t>
            </a:r>
            <a:r>
              <a:rPr lang="fi-FI" sz="1100" b="1" dirty="0">
                <a:solidFill>
                  <a:srgbClr val="00BAF2"/>
                </a:solidFill>
              </a:rPr>
              <a:t> us</a:t>
            </a:r>
          </a:p>
        </p:txBody>
      </p:sp>
      <p:pic>
        <p:nvPicPr>
          <p:cNvPr id="34" name="Kuva 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916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78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2CC110-6B5B-234A-9248-93C1766D77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2283718"/>
            <a:ext cx="7848000" cy="1944216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fontAlgn="base"/>
            <a:r>
              <a:rPr lang="fi-FI" sz="1400" b="1" dirty="0" err="1"/>
              <a:t>DevOps</a:t>
            </a:r>
            <a:r>
              <a:rPr lang="fi-FI" sz="1400" b="1" dirty="0"/>
              <a:t> is </a:t>
            </a:r>
            <a:r>
              <a:rPr lang="fi-FI" sz="1400" b="1" dirty="0" err="1"/>
              <a:t>the</a:t>
            </a:r>
            <a:r>
              <a:rPr lang="fi-FI" sz="1400" b="1" dirty="0"/>
              <a:t> </a:t>
            </a:r>
            <a:r>
              <a:rPr lang="fi-FI" sz="1400" b="1" dirty="0" err="1"/>
              <a:t>practice</a:t>
            </a:r>
            <a:r>
              <a:rPr lang="fi-FI" sz="1400" b="1" dirty="0"/>
              <a:t> of </a:t>
            </a:r>
            <a:r>
              <a:rPr lang="fi-FI" sz="1400" b="1" dirty="0" err="1"/>
              <a:t>operations</a:t>
            </a:r>
            <a:r>
              <a:rPr lang="fi-FI" sz="1400" b="1" dirty="0"/>
              <a:t> and </a:t>
            </a:r>
            <a:r>
              <a:rPr lang="fi-FI" sz="1400" b="1" dirty="0" err="1"/>
              <a:t>development</a:t>
            </a:r>
            <a:r>
              <a:rPr lang="fi-FI" sz="1400" b="1" dirty="0"/>
              <a:t> </a:t>
            </a:r>
            <a:r>
              <a:rPr lang="fi-FI" sz="1400" b="1" dirty="0" err="1"/>
              <a:t>engineers</a:t>
            </a:r>
            <a:r>
              <a:rPr lang="fi-FI" sz="1400" b="1" dirty="0"/>
              <a:t> </a:t>
            </a:r>
            <a:r>
              <a:rPr lang="fi-FI" sz="1400" b="1" dirty="0" err="1"/>
              <a:t>participating</a:t>
            </a:r>
            <a:r>
              <a:rPr lang="fi-FI" sz="1400" b="1" dirty="0"/>
              <a:t> </a:t>
            </a:r>
            <a:r>
              <a:rPr lang="fi-FI" sz="1400" b="1" dirty="0" err="1"/>
              <a:t>together</a:t>
            </a:r>
            <a:r>
              <a:rPr lang="fi-FI" sz="1400" b="1" dirty="0"/>
              <a:t> in </a:t>
            </a:r>
            <a:r>
              <a:rPr lang="fi-FI" sz="1400" b="1" dirty="0" err="1"/>
              <a:t>the</a:t>
            </a:r>
            <a:r>
              <a:rPr lang="fi-FI" sz="1400" b="1" dirty="0"/>
              <a:t> </a:t>
            </a:r>
            <a:r>
              <a:rPr lang="fi-FI" sz="1400" b="1" dirty="0" err="1"/>
              <a:t>entire</a:t>
            </a:r>
            <a:r>
              <a:rPr lang="fi-FI" sz="1400" b="1" dirty="0"/>
              <a:t> </a:t>
            </a:r>
            <a:r>
              <a:rPr lang="fi-FI" sz="1400" b="1" dirty="0" err="1"/>
              <a:t>service</a:t>
            </a:r>
            <a:r>
              <a:rPr lang="fi-FI" sz="1400" b="1" dirty="0"/>
              <a:t> </a:t>
            </a:r>
            <a:r>
              <a:rPr lang="fi-FI" sz="1400" b="1" dirty="0" err="1"/>
              <a:t>lifecycle</a:t>
            </a:r>
            <a:r>
              <a:rPr lang="fi-FI" sz="1400" b="1" dirty="0"/>
              <a:t>, </a:t>
            </a:r>
            <a:r>
              <a:rPr lang="fi-FI" sz="1400" b="1" dirty="0" err="1"/>
              <a:t>from</a:t>
            </a:r>
            <a:r>
              <a:rPr lang="fi-FI" sz="1400" b="1" dirty="0"/>
              <a:t> design </a:t>
            </a:r>
            <a:r>
              <a:rPr lang="fi-FI" sz="1400" b="1" dirty="0" err="1"/>
              <a:t>through</a:t>
            </a:r>
            <a:r>
              <a:rPr lang="fi-FI" sz="1400" b="1" dirty="0"/>
              <a:t> </a:t>
            </a:r>
            <a:r>
              <a:rPr lang="fi-FI" sz="1400" b="1" dirty="0" err="1"/>
              <a:t>the</a:t>
            </a:r>
            <a:r>
              <a:rPr lang="fi-FI" sz="1400" b="1" dirty="0"/>
              <a:t> </a:t>
            </a:r>
            <a:r>
              <a:rPr lang="fi-FI" sz="1400" b="1" dirty="0" err="1"/>
              <a:t>development</a:t>
            </a:r>
            <a:r>
              <a:rPr lang="fi-FI" sz="1400" b="1" dirty="0"/>
              <a:t> </a:t>
            </a:r>
            <a:r>
              <a:rPr lang="fi-FI" sz="1400" b="1" dirty="0" err="1"/>
              <a:t>process</a:t>
            </a:r>
            <a:r>
              <a:rPr lang="fi-FI" sz="1400" b="1" dirty="0"/>
              <a:t> to </a:t>
            </a:r>
            <a:r>
              <a:rPr lang="fi-FI" sz="1400" b="1" dirty="0" err="1"/>
              <a:t>production</a:t>
            </a:r>
            <a:r>
              <a:rPr lang="fi-FI" sz="1400" b="1" dirty="0"/>
              <a:t> </a:t>
            </a:r>
            <a:r>
              <a:rPr lang="fi-FI" sz="1400" b="1" dirty="0" err="1"/>
              <a:t>support</a:t>
            </a:r>
            <a:r>
              <a:rPr lang="fi-FI" sz="1400" b="1" dirty="0"/>
              <a:t>. </a:t>
            </a:r>
            <a:endParaRPr lang="fi-FI" sz="1400" dirty="0"/>
          </a:p>
          <a:p>
            <a:pPr fontAlgn="base"/>
            <a:r>
              <a:rPr lang="fi-FI" sz="1400" dirty="0"/>
              <a:t>A </a:t>
            </a:r>
            <a:r>
              <a:rPr lang="fi-FI" sz="1400" dirty="0" err="1"/>
              <a:t>primary</a:t>
            </a:r>
            <a:r>
              <a:rPr lang="fi-FI" sz="1400" dirty="0"/>
              <a:t> </a:t>
            </a:r>
            <a:r>
              <a:rPr lang="fi-FI" sz="1400" dirty="0" err="1"/>
              <a:t>corollary</a:t>
            </a:r>
            <a:r>
              <a:rPr lang="fi-FI" sz="1400" dirty="0"/>
              <a:t> to </a:t>
            </a:r>
            <a:r>
              <a:rPr lang="fi-FI" sz="1400" dirty="0" err="1"/>
              <a:t>this</a:t>
            </a:r>
            <a:r>
              <a:rPr lang="fi-FI" sz="1400" dirty="0"/>
              <a:t> is </a:t>
            </a:r>
            <a:r>
              <a:rPr lang="fi-FI" sz="1400" dirty="0" err="1"/>
              <a:t>that</a:t>
            </a:r>
            <a:r>
              <a:rPr lang="fi-FI" sz="1400" dirty="0"/>
              <a:t> </a:t>
            </a:r>
            <a:r>
              <a:rPr lang="fi-FI" sz="1400" dirty="0" err="1"/>
              <a:t>part</a:t>
            </a:r>
            <a:r>
              <a:rPr lang="fi-FI" sz="1400" dirty="0"/>
              <a:t> of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major</a:t>
            </a:r>
            <a:r>
              <a:rPr lang="fi-FI" sz="1400" dirty="0"/>
              <a:t> </a:t>
            </a:r>
            <a:r>
              <a:rPr lang="fi-FI" sz="1400" dirty="0" err="1"/>
              <a:t>change</a:t>
            </a:r>
            <a:r>
              <a:rPr lang="fi-FI" sz="1400" dirty="0"/>
              <a:t> in </a:t>
            </a:r>
            <a:r>
              <a:rPr lang="fi-FI" sz="1400" dirty="0" err="1"/>
              <a:t>practice</a:t>
            </a:r>
            <a:r>
              <a:rPr lang="fi-FI" sz="1400" dirty="0"/>
              <a:t> </a:t>
            </a:r>
            <a:r>
              <a:rPr lang="fi-FI" sz="1400" dirty="0" err="1"/>
              <a:t>from</a:t>
            </a:r>
            <a:r>
              <a:rPr lang="fi-FI" sz="1400" dirty="0"/>
              <a:t> </a:t>
            </a:r>
            <a:r>
              <a:rPr lang="fi-FI" sz="1400" dirty="0" err="1"/>
              <a:t>previous</a:t>
            </a:r>
            <a:r>
              <a:rPr lang="fi-FI" sz="1400" dirty="0"/>
              <a:t> </a:t>
            </a:r>
            <a:r>
              <a:rPr lang="fi-FI" sz="1400" dirty="0" err="1"/>
              <a:t>methods</a:t>
            </a:r>
            <a:r>
              <a:rPr lang="fi-FI" sz="1400" dirty="0"/>
              <a:t> is</a:t>
            </a:r>
          </a:p>
          <a:p>
            <a:pPr fontAlgn="base"/>
            <a:r>
              <a:rPr lang="fi-FI" sz="1400" b="1" dirty="0" err="1"/>
              <a:t>DevOps</a:t>
            </a:r>
            <a:r>
              <a:rPr lang="fi-FI" sz="1400" b="1" dirty="0"/>
              <a:t> is </a:t>
            </a:r>
            <a:r>
              <a:rPr lang="fi-FI" sz="1400" b="1" dirty="0" err="1"/>
              <a:t>also</a:t>
            </a:r>
            <a:r>
              <a:rPr lang="fi-FI" sz="1400" b="1" dirty="0"/>
              <a:t> </a:t>
            </a:r>
            <a:r>
              <a:rPr lang="fi-FI" sz="1400" b="1" dirty="0" err="1"/>
              <a:t>characterized</a:t>
            </a:r>
            <a:r>
              <a:rPr lang="fi-FI" sz="1400" b="1" dirty="0"/>
              <a:t> </a:t>
            </a:r>
            <a:r>
              <a:rPr lang="fi-FI" sz="1400" b="1" dirty="0" err="1"/>
              <a:t>by</a:t>
            </a:r>
            <a:r>
              <a:rPr lang="fi-FI" sz="1400" b="1" dirty="0"/>
              <a:t> </a:t>
            </a:r>
            <a:r>
              <a:rPr lang="fi-FI" sz="1400" b="1" dirty="0" err="1"/>
              <a:t>operations</a:t>
            </a:r>
            <a:r>
              <a:rPr lang="fi-FI" sz="1400" b="1" dirty="0"/>
              <a:t> </a:t>
            </a:r>
            <a:r>
              <a:rPr lang="fi-FI" sz="1400" b="1" dirty="0" err="1"/>
              <a:t>staff</a:t>
            </a:r>
            <a:r>
              <a:rPr lang="fi-FI" sz="1400" b="1" dirty="0"/>
              <a:t> </a:t>
            </a:r>
            <a:r>
              <a:rPr lang="fi-FI" sz="1400" b="1" dirty="0" err="1"/>
              <a:t>making</a:t>
            </a:r>
            <a:r>
              <a:rPr lang="fi-FI" sz="1400" b="1" dirty="0"/>
              <a:t> </a:t>
            </a:r>
            <a:r>
              <a:rPr lang="fi-FI" sz="1400" b="1" dirty="0" err="1"/>
              <a:t>use</a:t>
            </a:r>
            <a:r>
              <a:rPr lang="fi-FI" sz="1400" b="1" dirty="0"/>
              <a:t> </a:t>
            </a:r>
            <a:r>
              <a:rPr lang="fi-FI" sz="1400" b="1" dirty="0" err="1"/>
              <a:t>many</a:t>
            </a:r>
            <a:r>
              <a:rPr lang="fi-FI" sz="1400" b="1" dirty="0"/>
              <a:t> of </a:t>
            </a:r>
            <a:r>
              <a:rPr lang="fi-FI" sz="1400" b="1" dirty="0" err="1"/>
              <a:t>the</a:t>
            </a:r>
            <a:r>
              <a:rPr lang="fi-FI" sz="1400" b="1" dirty="0"/>
              <a:t> </a:t>
            </a:r>
            <a:r>
              <a:rPr lang="fi-FI" sz="1400" b="1" dirty="0" err="1"/>
              <a:t>same</a:t>
            </a:r>
            <a:r>
              <a:rPr lang="fi-FI" sz="1400" b="1" dirty="0"/>
              <a:t> </a:t>
            </a:r>
            <a:r>
              <a:rPr lang="fi-FI" sz="1400" b="1" dirty="0" err="1"/>
              <a:t>techniques</a:t>
            </a:r>
            <a:r>
              <a:rPr lang="fi-FI" sz="1400" b="1" dirty="0"/>
              <a:t> as </a:t>
            </a:r>
            <a:r>
              <a:rPr lang="fi-FI" sz="1400" b="1" dirty="0" err="1"/>
              <a:t>developers</a:t>
            </a:r>
            <a:r>
              <a:rPr lang="fi-FI" sz="1400" b="1" dirty="0"/>
              <a:t> for </a:t>
            </a:r>
            <a:r>
              <a:rPr lang="fi-FI" sz="1400" b="1" dirty="0" err="1"/>
              <a:t>their</a:t>
            </a:r>
            <a:r>
              <a:rPr lang="fi-FI" sz="1400" b="1" dirty="0"/>
              <a:t> </a:t>
            </a:r>
            <a:r>
              <a:rPr lang="fi-FI" sz="1400" b="1" dirty="0" err="1"/>
              <a:t>systems</a:t>
            </a:r>
            <a:r>
              <a:rPr lang="fi-FI" sz="1400" b="1" dirty="0"/>
              <a:t> </a:t>
            </a:r>
            <a:r>
              <a:rPr lang="fi-FI" sz="1400" b="1" dirty="0" err="1"/>
              <a:t>work</a:t>
            </a:r>
            <a:r>
              <a:rPr lang="fi-FI" sz="1400" b="1" dirty="0"/>
              <a:t>.”</a:t>
            </a:r>
          </a:p>
          <a:p>
            <a:pPr lvl="1" fontAlgn="base"/>
            <a:r>
              <a:rPr lang="fi-FI" sz="1400" b="1" dirty="0" err="1"/>
              <a:t>From</a:t>
            </a:r>
            <a:r>
              <a:rPr lang="fi-FI" sz="1400" b="1" dirty="0"/>
              <a:t> </a:t>
            </a:r>
            <a:r>
              <a:rPr lang="fi-FI" sz="1400" b="1" dirty="0" err="1"/>
              <a:t>AgileAdmin</a:t>
            </a:r>
            <a:r>
              <a:rPr lang="fi-FI" sz="1400" b="1" dirty="0"/>
              <a:t> </a:t>
            </a:r>
            <a:r>
              <a:rPr lang="fi-FI" sz="1400" b="1" dirty="0" err="1"/>
              <a:t>blog</a:t>
            </a:r>
            <a:endParaRPr lang="fi-FI" sz="1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02CD4BA-1A55-D44B-9303-124106AEC7D1}"/>
              </a:ext>
            </a:extLst>
          </p:cNvPr>
          <p:cNvSpPr/>
          <p:nvPr/>
        </p:nvSpPr>
        <p:spPr>
          <a:xfrm>
            <a:off x="107504" y="483518"/>
            <a:ext cx="6264192" cy="16004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i-FI" sz="1400" dirty="0" err="1"/>
              <a:t>Continuous</a:t>
            </a:r>
            <a:r>
              <a:rPr lang="fi-FI" sz="1400" dirty="0"/>
              <a:t> </a:t>
            </a:r>
            <a:r>
              <a:rPr lang="fi-FI" sz="1400" dirty="0" err="1"/>
              <a:t>Integration</a:t>
            </a:r>
            <a:r>
              <a:rPr lang="fi-FI" sz="1400" dirty="0"/>
              <a:t> (CI) is a </a:t>
            </a:r>
            <a:r>
              <a:rPr lang="fi-FI" sz="1400" dirty="0" err="1"/>
              <a:t>development</a:t>
            </a:r>
            <a:r>
              <a:rPr lang="fi-FI" sz="1400" dirty="0"/>
              <a:t> </a:t>
            </a:r>
            <a:r>
              <a:rPr lang="fi-FI" sz="1400" dirty="0" err="1"/>
              <a:t>practice</a:t>
            </a:r>
            <a:r>
              <a:rPr lang="fi-FI" sz="1400" dirty="0"/>
              <a:t> </a:t>
            </a:r>
            <a:r>
              <a:rPr lang="fi-FI" sz="1400" dirty="0" err="1"/>
              <a:t>that</a:t>
            </a:r>
            <a:r>
              <a:rPr lang="fi-FI" sz="1400" dirty="0"/>
              <a:t> </a:t>
            </a:r>
            <a:r>
              <a:rPr lang="fi-FI" sz="1400" dirty="0" err="1"/>
              <a:t>requires</a:t>
            </a:r>
            <a:r>
              <a:rPr lang="fi-FI" sz="1400" dirty="0"/>
              <a:t> </a:t>
            </a:r>
            <a:r>
              <a:rPr lang="fi-FI" sz="1400" dirty="0" err="1"/>
              <a:t>developers</a:t>
            </a:r>
            <a:r>
              <a:rPr lang="fi-FI" sz="1400" dirty="0"/>
              <a:t> to </a:t>
            </a:r>
            <a:r>
              <a:rPr lang="fi-FI" sz="1400" dirty="0" err="1"/>
              <a:t>integrate</a:t>
            </a:r>
            <a:r>
              <a:rPr lang="fi-FI" sz="1400" dirty="0"/>
              <a:t> </a:t>
            </a:r>
            <a:r>
              <a:rPr lang="fi-FI" sz="1400" dirty="0" err="1"/>
              <a:t>code</a:t>
            </a:r>
            <a:r>
              <a:rPr lang="fi-FI" sz="1400" dirty="0"/>
              <a:t> into a </a:t>
            </a:r>
            <a:r>
              <a:rPr lang="fi-FI" sz="1400" dirty="0" err="1"/>
              <a:t>shared</a:t>
            </a:r>
            <a:r>
              <a:rPr lang="fi-FI" sz="1400" dirty="0"/>
              <a:t> </a:t>
            </a:r>
            <a:r>
              <a:rPr lang="fi-FI" sz="1400" dirty="0" err="1"/>
              <a:t>repository</a:t>
            </a:r>
            <a:r>
              <a:rPr lang="fi-FI" sz="1400" dirty="0"/>
              <a:t> </a:t>
            </a:r>
            <a:r>
              <a:rPr lang="fi-FI" sz="1400" dirty="0" err="1"/>
              <a:t>several</a:t>
            </a:r>
            <a:r>
              <a:rPr lang="fi-FI" sz="1400" dirty="0"/>
              <a:t> </a:t>
            </a:r>
            <a:r>
              <a:rPr lang="fi-FI" sz="1400" dirty="0" err="1"/>
              <a:t>times</a:t>
            </a:r>
            <a:r>
              <a:rPr lang="fi-FI" sz="1400" dirty="0"/>
              <a:t> a </a:t>
            </a:r>
            <a:r>
              <a:rPr lang="fi-FI" sz="1400" dirty="0" err="1"/>
              <a:t>day</a:t>
            </a:r>
            <a:r>
              <a:rPr lang="fi-FI" sz="1400" dirty="0"/>
              <a:t>. </a:t>
            </a:r>
            <a:r>
              <a:rPr lang="fi-FI" sz="1400" dirty="0" err="1"/>
              <a:t>Each</a:t>
            </a:r>
            <a:r>
              <a:rPr lang="fi-FI" sz="1400" dirty="0"/>
              <a:t> </a:t>
            </a:r>
            <a:r>
              <a:rPr lang="fi-FI" sz="1400" dirty="0" err="1"/>
              <a:t>check</a:t>
            </a:r>
            <a:r>
              <a:rPr lang="fi-FI" sz="1400" dirty="0"/>
              <a:t>-in is </a:t>
            </a:r>
            <a:r>
              <a:rPr lang="fi-FI" sz="1400" dirty="0" err="1"/>
              <a:t>then</a:t>
            </a:r>
            <a:r>
              <a:rPr lang="fi-FI" sz="1400" dirty="0"/>
              <a:t> </a:t>
            </a:r>
            <a:r>
              <a:rPr lang="fi-FI" sz="1400" dirty="0" err="1"/>
              <a:t>verified</a:t>
            </a:r>
            <a:r>
              <a:rPr lang="fi-FI" sz="1400" dirty="0"/>
              <a:t> </a:t>
            </a:r>
            <a:r>
              <a:rPr lang="fi-FI" sz="1400" dirty="0" err="1"/>
              <a:t>by</a:t>
            </a:r>
            <a:r>
              <a:rPr lang="fi-FI" sz="1400" dirty="0"/>
              <a:t> an </a:t>
            </a:r>
            <a:r>
              <a:rPr lang="fi-FI" sz="1400" dirty="0" err="1"/>
              <a:t>automated</a:t>
            </a:r>
            <a:r>
              <a:rPr lang="fi-FI" sz="1400" dirty="0"/>
              <a:t> </a:t>
            </a:r>
            <a:r>
              <a:rPr lang="fi-FI" sz="1400" dirty="0" err="1"/>
              <a:t>build</a:t>
            </a:r>
            <a:r>
              <a:rPr lang="fi-FI" sz="1400" dirty="0"/>
              <a:t>, </a:t>
            </a:r>
            <a:r>
              <a:rPr lang="fi-FI" sz="1400" dirty="0" err="1"/>
              <a:t>allowing</a:t>
            </a:r>
            <a:r>
              <a:rPr lang="fi-FI" sz="1400" dirty="0"/>
              <a:t> </a:t>
            </a:r>
            <a:r>
              <a:rPr lang="fi-FI" sz="1400" dirty="0" err="1"/>
              <a:t>teams</a:t>
            </a:r>
            <a:r>
              <a:rPr lang="fi-FI" sz="1400" dirty="0"/>
              <a:t> to </a:t>
            </a:r>
            <a:r>
              <a:rPr lang="fi-FI" sz="1400" dirty="0" err="1"/>
              <a:t>detect</a:t>
            </a:r>
            <a:r>
              <a:rPr lang="fi-FI" sz="1400" dirty="0"/>
              <a:t> </a:t>
            </a:r>
            <a:r>
              <a:rPr lang="fi-FI" sz="1400" dirty="0" err="1"/>
              <a:t>problems</a:t>
            </a:r>
            <a:r>
              <a:rPr lang="fi-FI" sz="1400" dirty="0"/>
              <a:t> </a:t>
            </a:r>
            <a:r>
              <a:rPr lang="fi-FI" sz="1400" dirty="0" err="1"/>
              <a:t>early</a:t>
            </a:r>
            <a:r>
              <a:rPr lang="fi-FI" sz="1400" dirty="0"/>
              <a:t>. </a:t>
            </a:r>
            <a:br>
              <a:rPr lang="fi-FI" sz="1400" dirty="0"/>
            </a:br>
            <a:br>
              <a:rPr lang="fi-FI" sz="1400" dirty="0"/>
            </a:br>
            <a:r>
              <a:rPr lang="fi-FI" sz="1400" dirty="0"/>
              <a:t>By </a:t>
            </a:r>
            <a:r>
              <a:rPr lang="fi-FI" sz="1400" dirty="0" err="1"/>
              <a:t>integrating</a:t>
            </a:r>
            <a:r>
              <a:rPr lang="fi-FI" sz="1400" dirty="0"/>
              <a:t> </a:t>
            </a:r>
            <a:r>
              <a:rPr lang="fi-FI" sz="1400" dirty="0" err="1"/>
              <a:t>regularly</a:t>
            </a:r>
            <a:r>
              <a:rPr lang="fi-FI" sz="1400" dirty="0"/>
              <a:t>, </a:t>
            </a:r>
            <a:r>
              <a:rPr lang="fi-FI" sz="1400" dirty="0" err="1"/>
              <a:t>you</a:t>
            </a:r>
            <a:r>
              <a:rPr lang="fi-FI" sz="1400" dirty="0"/>
              <a:t> </a:t>
            </a:r>
            <a:r>
              <a:rPr lang="fi-FI" sz="1400" dirty="0" err="1"/>
              <a:t>can</a:t>
            </a:r>
            <a:r>
              <a:rPr lang="fi-FI" sz="1400" dirty="0"/>
              <a:t> </a:t>
            </a:r>
            <a:r>
              <a:rPr lang="fi-FI" sz="1400" dirty="0" err="1"/>
              <a:t>detect</a:t>
            </a:r>
            <a:r>
              <a:rPr lang="fi-FI" sz="1400" dirty="0"/>
              <a:t> </a:t>
            </a:r>
            <a:r>
              <a:rPr lang="fi-FI" sz="1400" dirty="0" err="1"/>
              <a:t>errors</a:t>
            </a:r>
            <a:r>
              <a:rPr lang="fi-FI" sz="1400" dirty="0"/>
              <a:t> </a:t>
            </a:r>
            <a:r>
              <a:rPr lang="fi-FI" sz="1400" dirty="0" err="1"/>
              <a:t>quickly</a:t>
            </a:r>
            <a:r>
              <a:rPr lang="fi-FI" sz="1400" dirty="0"/>
              <a:t>, and </a:t>
            </a:r>
            <a:r>
              <a:rPr lang="fi-FI" sz="1400" dirty="0" err="1"/>
              <a:t>locate</a:t>
            </a:r>
            <a:r>
              <a:rPr lang="fi-FI" sz="1400" dirty="0"/>
              <a:t> </a:t>
            </a:r>
            <a:r>
              <a:rPr lang="fi-FI" sz="1400" dirty="0" err="1"/>
              <a:t>them</a:t>
            </a:r>
            <a:r>
              <a:rPr lang="fi-FI" sz="1400" dirty="0"/>
              <a:t> </a:t>
            </a:r>
            <a:r>
              <a:rPr lang="fi-FI" sz="1400" dirty="0" err="1"/>
              <a:t>more</a:t>
            </a:r>
            <a:r>
              <a:rPr lang="fi-FI" sz="1400" dirty="0"/>
              <a:t> </a:t>
            </a:r>
            <a:r>
              <a:rPr lang="fi-FI" sz="1400" dirty="0" err="1"/>
              <a:t>easily</a:t>
            </a:r>
            <a:r>
              <a:rPr lang="fi-FI" sz="1400" dirty="0"/>
              <a:t>. (</a:t>
            </a:r>
            <a:r>
              <a:rPr lang="fi-FI" sz="1400" dirty="0" err="1"/>
              <a:t>from</a:t>
            </a:r>
            <a:r>
              <a:rPr lang="fi-FI" sz="1400" dirty="0"/>
              <a:t> </a:t>
            </a:r>
            <a:r>
              <a:rPr lang="fi-FI" sz="1400" dirty="0" err="1"/>
              <a:t>ThoughtWorks</a:t>
            </a:r>
            <a:r>
              <a:rPr lang="fi-FI" sz="1400" dirty="0"/>
              <a:t>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37C4C1B-E08C-BE41-9DE2-0D2970005675}"/>
              </a:ext>
            </a:extLst>
          </p:cNvPr>
          <p:cNvSpPr txBox="1"/>
          <p:nvPr/>
        </p:nvSpPr>
        <p:spPr>
          <a:xfrm>
            <a:off x="179512" y="4415317"/>
            <a:ext cx="8721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b="1" dirty="0"/>
              <a:t>Single </a:t>
            </a:r>
            <a:r>
              <a:rPr lang="fi-FI" b="1" dirty="0" err="1"/>
              <a:t>truth</a:t>
            </a:r>
            <a:r>
              <a:rPr lang="fi-FI" b="1" dirty="0"/>
              <a:t> of </a:t>
            </a:r>
            <a:r>
              <a:rPr lang="fi-FI" b="1" dirty="0" err="1"/>
              <a:t>the</a:t>
            </a:r>
            <a:r>
              <a:rPr lang="fi-FI" b="1" dirty="0"/>
              <a:t> </a:t>
            </a:r>
            <a:r>
              <a:rPr lang="fi-FI" b="1" dirty="0" err="1"/>
              <a:t>working</a:t>
            </a:r>
            <a:r>
              <a:rPr lang="fi-FI" b="1" dirty="0"/>
              <a:t> software. </a:t>
            </a:r>
            <a:r>
              <a:rPr lang="fi-FI" b="1" dirty="0" err="1"/>
              <a:t>Tests</a:t>
            </a:r>
            <a:r>
              <a:rPr lang="fi-FI" b="1" dirty="0"/>
              <a:t> </a:t>
            </a:r>
            <a:r>
              <a:rPr lang="fi-FI" b="1" dirty="0" err="1"/>
              <a:t>need</a:t>
            </a:r>
            <a:r>
              <a:rPr lang="fi-FI" b="1" dirty="0"/>
              <a:t> to </a:t>
            </a:r>
            <a:r>
              <a:rPr lang="fi-FI" b="1" dirty="0" err="1"/>
              <a:t>be</a:t>
            </a:r>
            <a:r>
              <a:rPr lang="fi-FI" b="1" dirty="0"/>
              <a:t> </a:t>
            </a:r>
            <a:r>
              <a:rPr lang="fi-FI" b="1" dirty="0" err="1"/>
              <a:t>good</a:t>
            </a:r>
            <a:r>
              <a:rPr lang="fi-FI" b="1" dirty="0"/>
              <a:t>. </a:t>
            </a:r>
            <a:r>
              <a:rPr lang="fi-FI" b="1" dirty="0" err="1"/>
              <a:t>Needs</a:t>
            </a:r>
            <a:r>
              <a:rPr lang="fi-FI" b="1" dirty="0"/>
              <a:t> to </a:t>
            </a:r>
            <a:r>
              <a:rPr lang="fi-FI" b="1" dirty="0" err="1"/>
              <a:t>be</a:t>
            </a:r>
            <a:r>
              <a:rPr lang="fi-FI" b="1" dirty="0"/>
              <a:t> </a:t>
            </a:r>
            <a:r>
              <a:rPr lang="fi-FI" b="1" dirty="0" err="1"/>
              <a:t>fast</a:t>
            </a:r>
            <a:r>
              <a:rPr lang="fi-FI" b="1" dirty="0"/>
              <a:t>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AD5EC0-C44B-AA40-9CE9-DEEC692019B2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2153F-68AB-2F4F-B399-A6D5C7332D02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623685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6800" y="452132"/>
            <a:ext cx="8510400" cy="738000"/>
          </a:xfrm>
        </p:spPr>
        <p:txBody>
          <a:bodyPr>
            <a:normAutofit fontScale="90000"/>
          </a:bodyPr>
          <a:lstStyle/>
          <a:p>
            <a:r>
              <a:rPr lang="fi-FI" dirty="0" err="1">
                <a:latin typeface="Arial" charset="0"/>
              </a:rPr>
              <a:t>Experiences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from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being</a:t>
            </a:r>
            <a:r>
              <a:rPr lang="fi-FI" dirty="0">
                <a:latin typeface="Arial" charset="0"/>
              </a:rPr>
              <a:t> PO for CI </a:t>
            </a:r>
            <a:r>
              <a:rPr lang="fi-FI" dirty="0" err="1">
                <a:latin typeface="Arial" charset="0"/>
              </a:rPr>
              <a:t>environments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over</a:t>
            </a:r>
            <a:r>
              <a:rPr lang="fi-FI" dirty="0">
                <a:latin typeface="Arial" charset="0"/>
              </a:rPr>
              <a:t> 11 </a:t>
            </a:r>
            <a:r>
              <a:rPr lang="fi-FI" dirty="0" err="1">
                <a:latin typeface="Arial" charset="0"/>
              </a:rPr>
              <a:t>years</a:t>
            </a:r>
            <a:endParaRPr lang="fi-FI" dirty="0">
              <a:latin typeface="Arial" charset="0"/>
            </a:endParaRP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16800" y="1336882"/>
            <a:ext cx="7848000" cy="3240000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endParaRPr lang="fi-FI" sz="1500" b="1" dirty="0">
              <a:latin typeface="Arial" charset="0"/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fi-FI" sz="1900" dirty="0">
                <a:latin typeface="Arial" charset="0"/>
              </a:rPr>
              <a:t>CI </a:t>
            </a:r>
            <a:r>
              <a:rPr lang="fi-FI" sz="1900" dirty="0" err="1">
                <a:latin typeface="Arial" charset="0"/>
              </a:rPr>
              <a:t>environment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should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be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developed</a:t>
            </a:r>
            <a:r>
              <a:rPr lang="fi-FI" sz="1900" dirty="0">
                <a:latin typeface="Arial" charset="0"/>
              </a:rPr>
              <a:t> in an </a:t>
            </a:r>
            <a:r>
              <a:rPr lang="fi-FI" sz="1900" dirty="0" err="1">
                <a:latin typeface="Arial" charset="0"/>
              </a:rPr>
              <a:t>agile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way</a:t>
            </a:r>
            <a:endParaRPr lang="fi-FI" sz="1900" dirty="0">
              <a:latin typeface="Arial" charset="0"/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fi-FI" sz="1900" dirty="0">
                <a:latin typeface="Arial" charset="0"/>
              </a:rPr>
              <a:t>Pure CI </a:t>
            </a:r>
            <a:r>
              <a:rPr lang="fi-FI" sz="1900" dirty="0" err="1">
                <a:latin typeface="Arial" charset="0"/>
              </a:rPr>
              <a:t>can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work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even</a:t>
            </a:r>
            <a:r>
              <a:rPr lang="fi-FI" sz="1900" dirty="0">
                <a:latin typeface="Arial" charset="0"/>
              </a:rPr>
              <a:t> in </a:t>
            </a:r>
            <a:r>
              <a:rPr lang="fi-FI" sz="1900" dirty="0" err="1">
                <a:latin typeface="Arial" charset="0"/>
              </a:rPr>
              <a:t>very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large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environment</a:t>
            </a:r>
            <a:r>
              <a:rPr lang="fi-FI" sz="1900" dirty="0">
                <a:latin typeface="Arial" charset="0"/>
              </a:rPr>
              <a:t> 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fi-FI" sz="1900" dirty="0">
                <a:latin typeface="Arial" charset="0"/>
              </a:rPr>
              <a:t>Product </a:t>
            </a:r>
            <a:r>
              <a:rPr lang="fi-FI" sz="1900" dirty="0" err="1">
                <a:latin typeface="Arial" charset="0"/>
              </a:rPr>
              <a:t>owner</a:t>
            </a:r>
            <a:r>
              <a:rPr lang="fi-FI" sz="1900" dirty="0">
                <a:latin typeface="Arial" charset="0"/>
              </a:rPr>
              <a:t> is </a:t>
            </a:r>
            <a:r>
              <a:rPr lang="fi-FI" sz="1900" dirty="0" err="1">
                <a:latin typeface="Arial" charset="0"/>
              </a:rPr>
              <a:t>useful</a:t>
            </a:r>
            <a:r>
              <a:rPr lang="fi-FI" sz="1900" dirty="0">
                <a:latin typeface="Arial" charset="0"/>
              </a:rPr>
              <a:t>…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fi-FI" sz="1900" dirty="0" err="1">
                <a:latin typeface="Arial" charset="0"/>
              </a:rPr>
              <a:t>Faster</a:t>
            </a:r>
            <a:r>
              <a:rPr lang="fi-FI" sz="1900" dirty="0">
                <a:latin typeface="Arial" charset="0"/>
              </a:rPr>
              <a:t> feedback </a:t>
            </a:r>
            <a:r>
              <a:rPr lang="fi-FI" sz="1900" dirty="0" err="1">
                <a:latin typeface="Arial" charset="0"/>
              </a:rPr>
              <a:t>times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can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be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achieved</a:t>
            </a:r>
            <a:r>
              <a:rPr lang="fi-FI" sz="1900" dirty="0">
                <a:latin typeface="Arial" charset="0"/>
              </a:rPr>
              <a:t> with </a:t>
            </a:r>
            <a:r>
              <a:rPr lang="fi-FI" sz="1900" dirty="0" err="1">
                <a:latin typeface="Arial" charset="0"/>
              </a:rPr>
              <a:t>performance</a:t>
            </a:r>
            <a:r>
              <a:rPr lang="fi-FI" sz="1900" dirty="0">
                <a:latin typeface="Arial" charset="0"/>
              </a:rPr>
              <a:t> engineering </a:t>
            </a:r>
            <a:r>
              <a:rPr lang="fi-FI" sz="1900" dirty="0" err="1">
                <a:latin typeface="Arial" charset="0"/>
              </a:rPr>
              <a:t>techniques</a:t>
            </a:r>
            <a:r>
              <a:rPr lang="fi-FI" sz="1900" dirty="0">
                <a:latin typeface="Arial" charset="0"/>
              </a:rPr>
              <a:t> 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fi-FI" sz="1900" b="1" dirty="0" err="1">
                <a:latin typeface="Arial" charset="0"/>
              </a:rPr>
              <a:t>Faster</a:t>
            </a:r>
            <a:r>
              <a:rPr lang="fi-FI" sz="1900" b="1" dirty="0">
                <a:latin typeface="Arial" charset="0"/>
              </a:rPr>
              <a:t> feedback </a:t>
            </a:r>
            <a:r>
              <a:rPr lang="fi-FI" sz="1900" b="1" dirty="0" err="1">
                <a:latin typeface="Arial" charset="0"/>
              </a:rPr>
              <a:t>time</a:t>
            </a:r>
            <a:r>
              <a:rPr lang="fi-FI" sz="1900" b="1" dirty="0">
                <a:latin typeface="Arial" charset="0"/>
              </a:rPr>
              <a:t> </a:t>
            </a:r>
            <a:r>
              <a:rPr lang="fi-FI" sz="1900" dirty="0">
                <a:latin typeface="Arial" charset="0"/>
              </a:rPr>
              <a:t>and </a:t>
            </a:r>
            <a:r>
              <a:rPr lang="fi-FI" sz="1900" b="1" dirty="0" err="1">
                <a:latin typeface="Arial" charset="0"/>
              </a:rPr>
              <a:t>constant</a:t>
            </a:r>
            <a:r>
              <a:rPr lang="fi-FI" sz="1900" b="1" dirty="0">
                <a:latin typeface="Arial" charset="0"/>
              </a:rPr>
              <a:t> </a:t>
            </a:r>
            <a:r>
              <a:rPr lang="fi-FI" sz="1900" b="1" dirty="0" err="1">
                <a:latin typeface="Arial" charset="0"/>
              </a:rPr>
              <a:t>visibility</a:t>
            </a:r>
            <a:r>
              <a:rPr lang="fi-FI" sz="1900" b="1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brings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more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predictability</a:t>
            </a:r>
            <a:r>
              <a:rPr lang="fi-FI" sz="1900" dirty="0">
                <a:latin typeface="Arial" charset="0"/>
              </a:rPr>
              <a:t> and </a:t>
            </a:r>
            <a:r>
              <a:rPr lang="fi-FI" sz="1900" dirty="0" err="1">
                <a:latin typeface="Arial" charset="0"/>
              </a:rPr>
              <a:t>productivity</a:t>
            </a:r>
            <a:r>
              <a:rPr lang="fi-FI" sz="1900" dirty="0">
                <a:latin typeface="Arial" charset="0"/>
              </a:rPr>
              <a:t> to software </a:t>
            </a:r>
            <a:r>
              <a:rPr lang="fi-FI" sz="1900" dirty="0" err="1">
                <a:latin typeface="Arial" charset="0"/>
              </a:rPr>
              <a:t>development</a:t>
            </a:r>
            <a:r>
              <a:rPr lang="fi-FI" sz="1900" dirty="0">
                <a:latin typeface="Arial" charset="0"/>
              </a:rPr>
              <a:t> 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fi-FI" sz="1900" dirty="0" err="1">
                <a:latin typeface="Arial" charset="0"/>
              </a:rPr>
              <a:t>Context</a:t>
            </a:r>
            <a:r>
              <a:rPr lang="fi-FI" sz="1900" dirty="0">
                <a:latin typeface="Arial" charset="0"/>
              </a:rPr>
              <a:t> is </a:t>
            </a:r>
            <a:r>
              <a:rPr lang="fi-FI" sz="1900" dirty="0" err="1">
                <a:latin typeface="Arial" charset="0"/>
              </a:rPr>
              <a:t>important</a:t>
            </a:r>
            <a:endParaRPr lang="fi-FI" sz="1900" dirty="0">
              <a:latin typeface="Arial" charset="0"/>
            </a:endParaRPr>
          </a:p>
          <a:p>
            <a:pPr>
              <a:lnSpc>
                <a:spcPct val="80000"/>
              </a:lnSpc>
              <a:buFontTx/>
              <a:buChar char="•"/>
            </a:pPr>
            <a:r>
              <a:rPr lang="fi-FI" sz="1900" dirty="0" err="1">
                <a:latin typeface="Arial" charset="0"/>
              </a:rPr>
              <a:t>Bringing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old</a:t>
            </a:r>
            <a:r>
              <a:rPr lang="fi-FI" sz="1900" dirty="0">
                <a:latin typeface="Arial" charset="0"/>
              </a:rPr>
              <a:t> </a:t>
            </a:r>
            <a:r>
              <a:rPr lang="fi-FI" sz="1900" dirty="0" err="1">
                <a:latin typeface="Arial" charset="0"/>
              </a:rPr>
              <a:t>codebases</a:t>
            </a:r>
            <a:r>
              <a:rPr lang="fi-FI" sz="1900" dirty="0">
                <a:latin typeface="Arial" charset="0"/>
              </a:rPr>
              <a:t> to CI – </a:t>
            </a:r>
            <a:r>
              <a:rPr lang="fi-FI" sz="1900" dirty="0" err="1">
                <a:latin typeface="Arial" charset="0"/>
              </a:rPr>
              <a:t>lot</a:t>
            </a:r>
            <a:r>
              <a:rPr lang="fi-FI" sz="1900" dirty="0">
                <a:latin typeface="Arial" charset="0"/>
              </a:rPr>
              <a:t> of </a:t>
            </a:r>
            <a:r>
              <a:rPr lang="fi-FI" sz="1900" dirty="0" err="1">
                <a:latin typeface="Arial" charset="0"/>
              </a:rPr>
              <a:t>work</a:t>
            </a:r>
            <a:endParaRPr lang="fi-FI" sz="1900" dirty="0">
              <a:latin typeface="Arial" charset="0"/>
            </a:endParaRPr>
          </a:p>
          <a:p>
            <a:pPr>
              <a:lnSpc>
                <a:spcPct val="80000"/>
              </a:lnSpc>
            </a:pPr>
            <a:endParaRPr lang="fi-FI" sz="1500" dirty="0">
              <a:latin typeface="Aria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F1CAB5-7006-7748-A160-A09270833AFE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806C14D-C2E0-C24A-A5F2-BC5CAD5D99C9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14327068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5A520-EFAA-C147-9D57-9CE08B10D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799" y="97458"/>
            <a:ext cx="8510400" cy="738000"/>
          </a:xfrm>
        </p:spPr>
        <p:txBody>
          <a:bodyPr>
            <a:normAutofit/>
          </a:bodyPr>
          <a:lstStyle/>
          <a:p>
            <a:r>
              <a:rPr lang="fi-FI" sz="2400" dirty="0" err="1"/>
              <a:t>Era</a:t>
            </a:r>
            <a:r>
              <a:rPr lang="fi-FI" sz="2400" dirty="0"/>
              <a:t> of </a:t>
            </a:r>
            <a:r>
              <a:rPr lang="fi-FI" sz="2400" dirty="0" err="1"/>
              <a:t>the</a:t>
            </a:r>
            <a:r>
              <a:rPr lang="fi-FI" sz="2400" dirty="0"/>
              <a:t> CI, CD and </a:t>
            </a:r>
            <a:r>
              <a:rPr lang="fi-FI" sz="2400" dirty="0" err="1"/>
              <a:t>DevOps</a:t>
            </a:r>
            <a:r>
              <a:rPr lang="fi-FI" sz="2400" dirty="0"/>
              <a:t> 2007-2018+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66AD0F5-36ED-D04B-803D-C84F4FC1CC5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52799" y="627534"/>
          <a:ext cx="8683697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D263D4E-CCDA-2542-9B6E-1076A951B5D1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FD8EC8-E232-9E4A-BA6E-B7D634C9724A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10594414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5" y="96571"/>
            <a:ext cx="5589276" cy="947292"/>
          </a:xfrm>
        </p:spPr>
        <p:txBody>
          <a:bodyPr>
            <a:normAutofit/>
          </a:bodyPr>
          <a:lstStyle/>
          <a:p>
            <a:r>
              <a:rPr lang="en-US" sz="1800" dirty="0"/>
              <a:t>Faster feedback loops to learn faster</a:t>
            </a:r>
            <a:br>
              <a:rPr lang="en-US" sz="1800" dirty="0"/>
            </a:br>
            <a:r>
              <a:rPr lang="en-US" sz="1800" dirty="0"/>
              <a:t>Automate, Measure, make visible, optimiz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0" y="1253177"/>
            <a:ext cx="6858000" cy="350402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821384" y="4083919"/>
            <a:ext cx="4272323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Parallelization by flexible use of </a:t>
            </a:r>
            <a:r>
              <a:rPr lang="en-US" sz="1350" b="1" dirty="0"/>
              <a:t>development cloud </a:t>
            </a:r>
          </a:p>
          <a:p>
            <a:r>
              <a:rPr lang="en-US" sz="1350" b="1" dirty="0"/>
              <a:t>and QA cloud cost effective </a:t>
            </a:r>
            <a:r>
              <a:rPr lang="en-US" sz="1350" dirty="0"/>
              <a:t>way of getting faster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305382"/>
            <a:ext cx="1401346" cy="5462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Learnings from Product 1-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E791F-C9AF-BC49-B2E2-F2D8995A5309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F2F0DD-63C1-C74F-BC13-350A84397C26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41604032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>
          <a:xfrm>
            <a:off x="1914381" y="4693"/>
            <a:ext cx="6172200" cy="857250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rial" charset="0"/>
              </a:rPr>
              <a:t>Use performance engineering to get faster – small change every sprint</a:t>
            </a:r>
          </a:p>
        </p:txBody>
      </p:sp>
      <p:sp>
        <p:nvSpPr>
          <p:cNvPr id="41988" name="Rectangle 5"/>
          <p:cNvSpPr>
            <a:spLocks noChangeArrowheads="1"/>
          </p:cNvSpPr>
          <p:nvPr/>
        </p:nvSpPr>
        <p:spPr bwMode="auto">
          <a:xfrm>
            <a:off x="5429250" y="2857500"/>
            <a:ext cx="2400300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/>
            <a:r>
              <a:rPr lang="en-US" sz="1200">
                <a:solidFill>
                  <a:srgbClr val="000000"/>
                </a:solidFill>
              </a:rPr>
              <a:t>Focused impact tuning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More memory and cpus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Parallelize builds</a:t>
            </a:r>
          </a:p>
          <a:p>
            <a:pPr algn="l"/>
            <a:r>
              <a:rPr lang="en-US" sz="1200">
                <a:solidFill>
                  <a:srgbClr val="000000"/>
                </a:solidFill>
              </a:rPr>
              <a:t>Replace 3rd party test libraries</a:t>
            </a:r>
          </a:p>
          <a:p>
            <a:pPr algn="l"/>
            <a:r>
              <a:rPr lang="en-US" sz="1200">
                <a:solidFill>
                  <a:srgbClr val="000000"/>
                </a:solidFill>
              </a:rPr>
              <a:t>Reduce/remove timeouts in tests</a:t>
            </a:r>
          </a:p>
          <a:p>
            <a:pPr algn="l"/>
            <a:r>
              <a:rPr lang="en-US" sz="1200">
                <a:solidFill>
                  <a:srgbClr val="000000"/>
                </a:solidFill>
              </a:rPr>
              <a:t>Select different tests</a:t>
            </a:r>
          </a:p>
          <a:p>
            <a:pPr algn="l"/>
            <a:r>
              <a:rPr lang="en-US" sz="1200">
                <a:solidFill>
                  <a:srgbClr val="000000"/>
                </a:solidFill>
              </a:rPr>
              <a:t>Refactor code &amp; components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Tune the network &amp; software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Tune the database</a:t>
            </a:r>
          </a:p>
        </p:txBody>
      </p:sp>
      <p:sp>
        <p:nvSpPr>
          <p:cNvPr id="41989" name="Rectangle 7"/>
          <p:cNvSpPr>
            <a:spLocks noChangeArrowheads="1"/>
          </p:cNvSpPr>
          <p:nvPr/>
        </p:nvSpPr>
        <p:spPr bwMode="auto">
          <a:xfrm>
            <a:off x="1143000" y="3143250"/>
            <a:ext cx="342900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/>
            <a:r>
              <a:rPr lang="en-US" sz="1200">
                <a:solidFill>
                  <a:srgbClr val="000000"/>
                </a:solidFill>
              </a:rPr>
              <a:t>Wide impact tuning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Fast builds – less changes – more green Parallelization of test runs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Clearcase to subversion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Preinstalling as much as possible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Removal of randomness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Compilation in memory</a:t>
            </a:r>
          </a:p>
          <a:p>
            <a:pPr algn="l">
              <a:buFont typeface="Arial" charset="0"/>
              <a:buChar char="-"/>
            </a:pPr>
            <a:r>
              <a:rPr lang="en-US" sz="1200">
                <a:solidFill>
                  <a:srgbClr val="000000"/>
                </a:solidFill>
              </a:rPr>
              <a:t>Installation starting parallel with system build</a:t>
            </a:r>
            <a:endParaRPr lang="en-US" sz="1200"/>
          </a:p>
        </p:txBody>
      </p:sp>
      <p:graphicFrame>
        <p:nvGraphicFramePr>
          <p:cNvPr id="13" name="Diagram 12"/>
          <p:cNvGraphicFramePr/>
          <p:nvPr/>
        </p:nvGraphicFramePr>
        <p:xfrm>
          <a:off x="1485900" y="668938"/>
          <a:ext cx="5600700" cy="32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305381"/>
            <a:ext cx="1847205" cy="66424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Learnings from Product 1 (“installed”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0B75B8-DA93-D04C-959A-B494C3357D2F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1F1AB9-AE82-2B49-8FC6-AFBB0DA877BA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10640953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title"/>
          </p:nvPr>
        </p:nvSpPr>
        <p:spPr>
          <a:xfrm>
            <a:off x="1547664" y="305382"/>
            <a:ext cx="6858000" cy="620316"/>
          </a:xfrm>
        </p:spPr>
        <p:txBody>
          <a:bodyPr>
            <a:normAutofit/>
          </a:bodyPr>
          <a:lstStyle/>
          <a:p>
            <a:r>
              <a:rPr lang="en-US" sz="1800" dirty="0">
                <a:latin typeface="Arial" charset="0"/>
              </a:rPr>
              <a:t>Process </a:t>
            </a:r>
            <a:r>
              <a:rPr lang="en-US" sz="1800" dirty="0" err="1">
                <a:latin typeface="Arial" charset="0"/>
              </a:rPr>
              <a:t>learnings</a:t>
            </a:r>
            <a:r>
              <a:rPr lang="en-US" sz="1800" dirty="0">
                <a:latin typeface="Arial" charset="0"/>
              </a:rPr>
              <a:t> for succeeding with large scale CI</a:t>
            </a:r>
            <a:endParaRPr lang="fi-FI" sz="1800" dirty="0">
              <a:latin typeface="Arial" charset="0"/>
            </a:endParaRP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890521"/>
            <a:ext cx="7889454" cy="3982492"/>
          </a:xfrm>
        </p:spPr>
        <p:txBody>
          <a:bodyPr>
            <a:normAutofit/>
          </a:bodyPr>
          <a:lstStyle/>
          <a:p>
            <a:pPr lvl="1">
              <a:lnSpc>
                <a:spcPct val="75000"/>
              </a:lnSpc>
              <a:buFontTx/>
              <a:buNone/>
            </a:pPr>
            <a:r>
              <a:rPr lang="en-US" sz="1800" dirty="0">
                <a:latin typeface="Arial" charset="0"/>
              </a:rPr>
              <a:t>Overall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Active change agent/sponsor/owner needed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Continuous, persistent improvement – use agile</a:t>
            </a:r>
          </a:p>
          <a:p>
            <a:pPr lvl="1">
              <a:lnSpc>
                <a:spcPct val="75000"/>
              </a:lnSpc>
            </a:pPr>
            <a:r>
              <a:rPr lang="en-US" sz="1350" b="1" dirty="0">
                <a:latin typeface="Arial" charset="0"/>
              </a:rPr>
              <a:t>invest in local coaching during deployment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Actionable radiators everywhere.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Integrate the visibility. History is useful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Have dedicated team but do not separate it to different </a:t>
            </a:r>
            <a:r>
              <a:rPr lang="en-US" sz="1350" dirty="0" err="1">
                <a:latin typeface="Arial" charset="0"/>
              </a:rPr>
              <a:t>organisation</a:t>
            </a:r>
            <a:r>
              <a:rPr lang="en-US" sz="1350" dirty="0">
                <a:latin typeface="Arial" charset="0"/>
              </a:rPr>
              <a:t>. Super close co-op is the key. 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Eliminate with hard hand all excuses for not automating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Anything can be made much faster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Keep builds &amp; tests fast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Do not hide long in branches. 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Feature flags are useful (product 4)</a:t>
            </a:r>
          </a:p>
          <a:p>
            <a:pPr lvl="1">
              <a:lnSpc>
                <a:spcPct val="75000"/>
              </a:lnSpc>
              <a:buFontTx/>
              <a:buNone/>
            </a:pPr>
            <a:endParaRPr lang="en-US" sz="1800" dirty="0">
              <a:latin typeface="Arial" charset="0"/>
            </a:endParaRPr>
          </a:p>
          <a:p>
            <a:pPr lvl="1">
              <a:lnSpc>
                <a:spcPct val="75000"/>
              </a:lnSpc>
              <a:buFontTx/>
              <a:buNone/>
            </a:pPr>
            <a:r>
              <a:rPr lang="en-US" sz="1800" dirty="0">
                <a:latin typeface="Arial" charset="0"/>
              </a:rPr>
              <a:t>For developers and program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Small batch sizes – fast feedback -&gt; increased productivity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Unlikely to prove at component level that integration will work 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Mindset change – grow the code. </a:t>
            </a:r>
          </a:p>
          <a:p>
            <a:pPr lvl="2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Do not hide in branches: Commit constantly – every day. </a:t>
            </a:r>
          </a:p>
          <a:p>
            <a:pPr lvl="1">
              <a:lnSpc>
                <a:spcPct val="75000"/>
              </a:lnSpc>
            </a:pPr>
            <a:r>
              <a:rPr lang="en-US" sz="1350" dirty="0">
                <a:latin typeface="Arial" charset="0"/>
              </a:rPr>
              <a:t>Program rules – </a:t>
            </a:r>
            <a:r>
              <a:rPr lang="ja-JP" altLang="en-US" sz="1350" dirty="0">
                <a:latin typeface="Arial" charset="0"/>
              </a:rPr>
              <a:t>“</a:t>
            </a:r>
            <a:r>
              <a:rPr lang="en-US" sz="1350" dirty="0">
                <a:latin typeface="Arial" charset="0"/>
              </a:rPr>
              <a:t>fix the build</a:t>
            </a:r>
            <a:r>
              <a:rPr lang="ja-JP" altLang="en-US" sz="1350" dirty="0">
                <a:latin typeface="Arial" charset="0"/>
              </a:rPr>
              <a:t>”</a:t>
            </a:r>
            <a:r>
              <a:rPr lang="en-US" sz="1350" dirty="0">
                <a:latin typeface="Arial" charset="0"/>
              </a:rPr>
              <a:t> </a:t>
            </a:r>
          </a:p>
          <a:p>
            <a:pPr lvl="1">
              <a:lnSpc>
                <a:spcPct val="75000"/>
              </a:lnSpc>
            </a:pPr>
            <a:endParaRPr lang="en-US" dirty="0">
              <a:latin typeface="Arial" charset="0"/>
            </a:endParaRPr>
          </a:p>
          <a:p>
            <a:pPr lvl="1">
              <a:lnSpc>
                <a:spcPct val="75000"/>
              </a:lnSpc>
            </a:pPr>
            <a:endParaRPr lang="en-US" dirty="0">
              <a:latin typeface="Arial" charset="0"/>
            </a:endParaRPr>
          </a:p>
          <a:p>
            <a:pPr lvl="1">
              <a:lnSpc>
                <a:spcPct val="75000"/>
              </a:lnSpc>
            </a:pPr>
            <a:endParaRPr lang="en-US" dirty="0">
              <a:latin typeface="Arial" charset="0"/>
            </a:endParaRPr>
          </a:p>
          <a:p>
            <a:pPr lvl="1">
              <a:lnSpc>
                <a:spcPct val="75000"/>
              </a:lnSpc>
            </a:pPr>
            <a:endParaRPr lang="en-US" dirty="0">
              <a:latin typeface="Arial" charset="0"/>
            </a:endParaRPr>
          </a:p>
          <a:p>
            <a:pPr lvl="1">
              <a:lnSpc>
                <a:spcPct val="75000"/>
              </a:lnSpc>
            </a:pPr>
            <a:endParaRPr lang="en-US" dirty="0">
              <a:latin typeface="Arial" charset="0"/>
            </a:endParaRPr>
          </a:p>
          <a:p>
            <a:pPr lvl="1">
              <a:lnSpc>
                <a:spcPct val="75000"/>
              </a:lnSpc>
            </a:pPr>
            <a:endParaRPr lang="en-US" dirty="0">
              <a:latin typeface="Arial" charset="0"/>
            </a:endParaRPr>
          </a:p>
          <a:p>
            <a:pPr lvl="1">
              <a:lnSpc>
                <a:spcPct val="75000"/>
              </a:lnSpc>
            </a:pPr>
            <a:endParaRPr lang="en-US" sz="2400" b="1" dirty="0">
              <a:latin typeface="Arial" charset="0"/>
            </a:endParaRPr>
          </a:p>
          <a:p>
            <a:pPr lvl="1">
              <a:lnSpc>
                <a:spcPct val="75000"/>
              </a:lnSpc>
            </a:pPr>
            <a:endParaRPr lang="en-US" sz="2400" b="1" dirty="0">
              <a:latin typeface="Arial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5B1AC8-E5DF-874B-9040-EF6F8C2BE130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5653F4-093C-9947-A8D8-06914855A840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EB79FA-6263-664A-AE05-5FF91F9D99E0}"/>
              </a:ext>
            </a:extLst>
          </p:cNvPr>
          <p:cNvSpPr/>
          <p:nvPr/>
        </p:nvSpPr>
        <p:spPr>
          <a:xfrm>
            <a:off x="0" y="305382"/>
            <a:ext cx="1401346" cy="5462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Learnings from Product 1-4</a:t>
            </a:r>
          </a:p>
        </p:txBody>
      </p:sp>
    </p:spTree>
    <p:extLst>
      <p:ext uri="{BB962C8B-B14F-4D97-AF65-F5344CB8AC3E}">
        <p14:creationId xmlns:p14="http://schemas.microsoft.com/office/powerpoint/2010/main" val="31314807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7664" y="209517"/>
            <a:ext cx="8510400" cy="738000"/>
          </a:xfrm>
        </p:spPr>
        <p:txBody>
          <a:bodyPr/>
          <a:lstStyle/>
          <a:p>
            <a:r>
              <a:rPr lang="en-US" dirty="0"/>
              <a:t>Lean principles – spe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r>
              <a:rPr lang="en-US" dirty="0"/>
              <a:t>Constantly question the necessity of steps, length of steps, parallelization and serialization of steps in the overall (</a:t>
            </a:r>
            <a:r>
              <a:rPr lang="en-US" b="1" dirty="0"/>
              <a:t>#CI</a:t>
            </a:r>
            <a:r>
              <a:rPr lang="en-US" dirty="0"/>
              <a:t>) system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Make it a habit of being a bit faster every day. Refactor in the small, in the large. Computer should wait, not human. </a:t>
            </a:r>
            <a:r>
              <a:rPr lang="en-US" b="1" dirty="0"/>
              <a:t>#CI</a:t>
            </a:r>
          </a:p>
          <a:p>
            <a:pPr lvl="1"/>
            <a:r>
              <a:rPr lang="en-US" dirty="0"/>
              <a:t>Almost anything can be made faster. Most often by 70%+ fas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B281A0-A880-ED4C-9941-E224321AA27D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8FEBA1-70A2-FA4F-9AE4-6BF21629367C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60211E-936E-D24F-BF11-A3EC573F2AD3}"/>
              </a:ext>
            </a:extLst>
          </p:cNvPr>
          <p:cNvSpPr/>
          <p:nvPr/>
        </p:nvSpPr>
        <p:spPr>
          <a:xfrm>
            <a:off x="0" y="305382"/>
            <a:ext cx="1401346" cy="5462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Learnings from Product 1-4</a:t>
            </a:r>
          </a:p>
        </p:txBody>
      </p:sp>
    </p:spTree>
    <p:extLst>
      <p:ext uri="{BB962C8B-B14F-4D97-AF65-F5344CB8AC3E}">
        <p14:creationId xmlns:p14="http://schemas.microsoft.com/office/powerpoint/2010/main" val="29595132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7664" y="209517"/>
            <a:ext cx="8510400" cy="738000"/>
          </a:xfrm>
        </p:spPr>
        <p:txBody>
          <a:bodyPr/>
          <a:lstStyle/>
          <a:p>
            <a:r>
              <a:rPr lang="en-US" dirty="0"/>
              <a:t>Lean principles – inventor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E0B84D-B665-EA4F-8D08-936C76E54F53}"/>
              </a:ext>
            </a:extLst>
          </p:cNvPr>
          <p:cNvSpPr/>
          <p:nvPr/>
        </p:nvSpPr>
        <p:spPr>
          <a:xfrm>
            <a:off x="356030" y="975600"/>
            <a:ext cx="8032394" cy="3116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350" dirty="0"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/>
              <a:t>For CI to work in large environment lean thinking must be applied. Minimize the batch size. Remove waits and minimize work in progr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50" dirty="0"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/>
              <a:t>Watch your commit &amp; integration rhythm and keep it reasonable or know the good reasons why especially when working with multiple teams. </a:t>
            </a:r>
            <a:endParaRPr lang="en-US" sz="135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50" dirty="0">
              <a:hlinkClick r:id="rId3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/>
              <a:t>Long interval between committing changes can mean you are building your software in too big chunks.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Large user stories, or </a:t>
            </a:r>
            <a:r>
              <a:rPr lang="en-US" sz="1050" dirty="0" err="1"/>
              <a:t>refactorings</a:t>
            </a:r>
            <a:r>
              <a:rPr lang="en-US" sz="1050" dirty="0"/>
              <a:t>. Too many unintegrated changes in your inventory might lead to integration problems especially with multiple teams.</a:t>
            </a:r>
            <a:endParaRPr lang="en-US" sz="1050" dirty="0">
              <a:hlinkClick r:id="rId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5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50" dirty="0"/>
              <a:t>If your team members are not committing their changes in logical chunks (almost) every day you might have too much inventory building</a:t>
            </a:r>
            <a:endParaRPr lang="en-US" sz="1350" dirty="0">
              <a:hlinkClick r:id="rId5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94352E-27CB-904B-80B7-5498ABB68F4A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0592502-C001-C142-B39F-9DAC15A34C54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61130D-388B-EF42-8F3C-AE2C8E936D32}"/>
              </a:ext>
            </a:extLst>
          </p:cNvPr>
          <p:cNvSpPr/>
          <p:nvPr/>
        </p:nvSpPr>
        <p:spPr>
          <a:xfrm>
            <a:off x="0" y="305382"/>
            <a:ext cx="1401346" cy="5462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Learnings from Product 1-4</a:t>
            </a:r>
          </a:p>
        </p:txBody>
      </p:sp>
    </p:spTree>
    <p:extLst>
      <p:ext uri="{BB962C8B-B14F-4D97-AF65-F5344CB8AC3E}">
        <p14:creationId xmlns:p14="http://schemas.microsoft.com/office/powerpoint/2010/main" val="39384273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7664" y="209517"/>
            <a:ext cx="8510400" cy="738000"/>
          </a:xfrm>
        </p:spPr>
        <p:txBody>
          <a:bodyPr/>
          <a:lstStyle/>
          <a:p>
            <a:r>
              <a:rPr lang="en-US" dirty="0"/>
              <a:t>Visibility in continuous integr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4BE713-6DF8-2144-87E4-5A1751E5EB5B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C9BE175-BB0F-DE44-BBFA-7E5D03A21395}"/>
              </a:ext>
            </a:extLst>
          </p:cNvPr>
          <p:cNvSpPr/>
          <p:nvPr/>
        </p:nvSpPr>
        <p:spPr>
          <a:xfrm>
            <a:off x="348742" y="1302867"/>
            <a:ext cx="6390456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I system is a treasure trove of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ve just enough information on radiators. Make it understandable by anyone. Less is much more </a:t>
            </a:r>
          </a:p>
          <a:p>
            <a:endParaRPr lang="en-US" sz="1400" dirty="0"/>
          </a:p>
          <a:p>
            <a:pPr marL="257175" lvl="1" indent="-257175">
              <a:buFont typeface="Arial"/>
              <a:buChar char="•"/>
            </a:pPr>
            <a:r>
              <a:rPr lang="en-US" sz="1400" dirty="0"/>
              <a:t>Make the information in radiators/histories understandable by anyone in project</a:t>
            </a:r>
            <a:r>
              <a:rPr lang="en-US" sz="1400" b="1" dirty="0"/>
              <a:t> </a:t>
            </a:r>
            <a:endParaRPr lang="en-US" sz="1400" dirty="0"/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Mining the continuous integration database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history - are builds breaking often during the sprint or tw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are builds being done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is software robust, same tests with no changes same results </a:t>
            </a:r>
            <a:endParaRPr lang="en-US" sz="1400" dirty="0">
              <a:hlinkClick r:id="rId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are the tests finding the right problems - talk to people, compare test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are the tests getting slower, do the tests break often – wher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do components / teams add tests over time, do they fix tests quickly </a:t>
            </a:r>
            <a:endParaRPr lang="en-US" sz="1400" dirty="0">
              <a:hlinkClick r:id="rId3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F28186-AE2F-3C47-856D-E5FC4B424327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A29926-F45A-8B44-9088-2DBAB462AB4D}"/>
              </a:ext>
            </a:extLst>
          </p:cNvPr>
          <p:cNvSpPr/>
          <p:nvPr/>
        </p:nvSpPr>
        <p:spPr>
          <a:xfrm>
            <a:off x="0" y="305382"/>
            <a:ext cx="1401346" cy="5462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Learnings from Product 1-4</a:t>
            </a:r>
          </a:p>
        </p:txBody>
      </p:sp>
    </p:spTree>
    <p:extLst>
      <p:ext uri="{BB962C8B-B14F-4D97-AF65-F5344CB8AC3E}">
        <p14:creationId xmlns:p14="http://schemas.microsoft.com/office/powerpoint/2010/main" val="13590702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547664" y="252176"/>
            <a:ext cx="8510400" cy="738000"/>
          </a:xfrm>
        </p:spPr>
        <p:txBody>
          <a:bodyPr/>
          <a:lstStyle/>
          <a:p>
            <a:r>
              <a:rPr lang="fi-FI" dirty="0" err="1">
                <a:latin typeface="Arial" charset="0"/>
              </a:rPr>
              <a:t>Summary</a:t>
            </a:r>
            <a:r>
              <a:rPr lang="fi-FI" dirty="0">
                <a:latin typeface="Arial" charset="0"/>
              </a:rPr>
              <a:t> of </a:t>
            </a:r>
            <a:r>
              <a:rPr lang="fi-FI" dirty="0" err="1">
                <a:latin typeface="Arial" charset="0"/>
              </a:rPr>
              <a:t>the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age</a:t>
            </a:r>
            <a:r>
              <a:rPr lang="fi-FI" dirty="0">
                <a:latin typeface="Arial" charset="0"/>
              </a:rPr>
              <a:t> of CI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C12AF2-F652-E649-BAFA-B8A34974DDB9}"/>
              </a:ext>
            </a:extLst>
          </p:cNvPr>
          <p:cNvSpPr/>
          <p:nvPr/>
        </p:nvSpPr>
        <p:spPr>
          <a:xfrm>
            <a:off x="280800" y="1057958"/>
            <a:ext cx="825164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>
                <a:latin typeface="Arial" charset="0"/>
              </a:rPr>
              <a:t>In </a:t>
            </a:r>
            <a:r>
              <a:rPr lang="fi-FI" dirty="0" err="1">
                <a:latin typeface="Arial" charset="0"/>
              </a:rPr>
              <a:t>larger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projects</a:t>
            </a:r>
            <a:r>
              <a:rPr lang="fi-FI" dirty="0">
                <a:latin typeface="Arial" charset="0"/>
              </a:rPr>
              <a:t> a </a:t>
            </a:r>
            <a:r>
              <a:rPr lang="fi-FI" dirty="0" err="1">
                <a:latin typeface="Arial" charset="0"/>
              </a:rPr>
              <a:t>separate</a:t>
            </a:r>
            <a:r>
              <a:rPr lang="fi-FI" dirty="0">
                <a:latin typeface="Arial" charset="0"/>
              </a:rPr>
              <a:t> team </a:t>
            </a:r>
            <a:r>
              <a:rPr lang="fi-FI" dirty="0" err="1">
                <a:latin typeface="Arial" charset="0"/>
              </a:rPr>
              <a:t>may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focus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tooling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development</a:t>
            </a:r>
            <a:r>
              <a:rPr lang="fi-FI" dirty="0">
                <a:latin typeface="Arial" charset="0"/>
              </a:rPr>
              <a:t>. </a:t>
            </a:r>
            <a:r>
              <a:rPr lang="fi-FI" b="1" dirty="0" err="1">
                <a:latin typeface="Arial" charset="0"/>
              </a:rPr>
              <a:t>Persistent</a:t>
            </a:r>
            <a:r>
              <a:rPr lang="fi-FI" b="1" dirty="0">
                <a:latin typeface="Arial" charset="0"/>
              </a:rPr>
              <a:t> </a:t>
            </a:r>
            <a:r>
              <a:rPr lang="fi-FI" b="1" dirty="0" err="1">
                <a:latin typeface="Arial" charset="0"/>
              </a:rPr>
              <a:t>commitment</a:t>
            </a:r>
            <a:r>
              <a:rPr lang="fi-FI" b="1" dirty="0">
                <a:latin typeface="Arial" charset="0"/>
              </a:rPr>
              <a:t> is </a:t>
            </a:r>
            <a:r>
              <a:rPr lang="fi-FI" b="1" dirty="0" err="1">
                <a:latin typeface="Arial" charset="0"/>
              </a:rPr>
              <a:t>needed</a:t>
            </a:r>
            <a:r>
              <a:rPr lang="fi-FI" dirty="0">
                <a:latin typeface="Arial" charset="0"/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 err="1">
                <a:latin typeface="Arial" charset="0"/>
              </a:rPr>
              <a:t>Have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active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sponsor</a:t>
            </a:r>
            <a:r>
              <a:rPr lang="fi-FI" dirty="0">
                <a:latin typeface="Arial" charset="0"/>
              </a:rPr>
              <a:t>/P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>
              <a:latin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>
                <a:latin typeface="Arial" charset="0"/>
              </a:rPr>
              <a:t>CI </a:t>
            </a:r>
            <a:r>
              <a:rPr lang="fi-FI" dirty="0" err="1">
                <a:latin typeface="Arial" charset="0"/>
              </a:rPr>
              <a:t>works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even</a:t>
            </a:r>
            <a:r>
              <a:rPr lang="fi-FI" dirty="0">
                <a:latin typeface="Arial" charset="0"/>
              </a:rPr>
              <a:t> in </a:t>
            </a:r>
            <a:r>
              <a:rPr lang="fi-FI" dirty="0" err="1">
                <a:latin typeface="Arial" charset="0"/>
              </a:rPr>
              <a:t>large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projects</a:t>
            </a:r>
            <a:r>
              <a:rPr lang="fi-FI" dirty="0">
                <a:latin typeface="Arial" charset="0"/>
              </a:rPr>
              <a:t>. </a:t>
            </a:r>
          </a:p>
          <a:p>
            <a:pPr>
              <a:buFontTx/>
              <a:buChar char="-"/>
            </a:pPr>
            <a:endParaRPr lang="fi-FI" dirty="0">
              <a:latin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>
                <a:latin typeface="Arial" charset="0"/>
              </a:rPr>
              <a:t>Sprint </a:t>
            </a:r>
            <a:r>
              <a:rPr lang="fi-FI" dirty="0" err="1">
                <a:latin typeface="Arial" charset="0"/>
              </a:rPr>
              <a:t>by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sprint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improvements</a:t>
            </a:r>
            <a:r>
              <a:rPr lang="fi-FI" dirty="0">
                <a:latin typeface="Arial" charset="0"/>
              </a:rPr>
              <a:t> – </a:t>
            </a:r>
            <a:r>
              <a:rPr lang="fi-FI" dirty="0" err="1">
                <a:latin typeface="Arial" charset="0"/>
              </a:rPr>
              <a:t>not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big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bang</a:t>
            </a:r>
            <a:endParaRPr lang="fi-FI" dirty="0">
              <a:latin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 err="1">
                <a:latin typeface="Arial" charset="0"/>
              </a:rPr>
              <a:t>Good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tests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are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important</a:t>
            </a:r>
            <a:endParaRPr lang="fi-FI" dirty="0">
              <a:latin typeface="Arial" charset="0"/>
            </a:endParaRPr>
          </a:p>
          <a:p>
            <a:pPr>
              <a:buFontTx/>
              <a:buChar char="-"/>
            </a:pPr>
            <a:endParaRPr lang="fi-FI" dirty="0">
              <a:latin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 err="1">
                <a:latin typeface="Arial" charset="0"/>
              </a:rPr>
              <a:t>Context</a:t>
            </a:r>
            <a:r>
              <a:rPr lang="fi-FI" dirty="0">
                <a:latin typeface="Arial" charset="0"/>
              </a:rPr>
              <a:t> is </a:t>
            </a:r>
            <a:r>
              <a:rPr lang="fi-FI" dirty="0" err="1">
                <a:latin typeface="Arial" charset="0"/>
              </a:rPr>
              <a:t>important</a:t>
            </a:r>
            <a:r>
              <a:rPr lang="fi-FI" dirty="0">
                <a:latin typeface="Arial" charset="0"/>
              </a:rPr>
              <a:t>. </a:t>
            </a:r>
          </a:p>
          <a:p>
            <a:pPr>
              <a:buFontTx/>
              <a:buChar char="-"/>
            </a:pPr>
            <a:endParaRPr lang="fi-FI" dirty="0">
              <a:latin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>
                <a:latin typeface="Arial" charset="0"/>
              </a:rPr>
              <a:t>Performance engineering </a:t>
            </a:r>
            <a:r>
              <a:rPr lang="fi-FI" dirty="0" err="1">
                <a:latin typeface="Arial" charset="0"/>
              </a:rPr>
              <a:t>will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speed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up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the</a:t>
            </a:r>
            <a:r>
              <a:rPr lang="fi-FI" dirty="0">
                <a:latin typeface="Arial" charset="0"/>
              </a:rPr>
              <a:t> feedback – </a:t>
            </a:r>
            <a:r>
              <a:rPr lang="fi-FI" dirty="0" err="1">
                <a:latin typeface="Arial" charset="0"/>
              </a:rPr>
              <a:t>all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teams</a:t>
            </a:r>
            <a:r>
              <a:rPr lang="fi-FI" dirty="0">
                <a:latin typeface="Arial" charset="0"/>
              </a:rPr>
              <a:t> </a:t>
            </a:r>
            <a:r>
              <a:rPr lang="fi-FI" dirty="0" err="1">
                <a:latin typeface="Arial" charset="0"/>
              </a:rPr>
              <a:t>need</a:t>
            </a:r>
            <a:r>
              <a:rPr lang="fi-FI" dirty="0">
                <a:latin typeface="Arial" charset="0"/>
              </a:rPr>
              <a:t> to </a:t>
            </a:r>
            <a:r>
              <a:rPr lang="fi-FI" dirty="0" err="1">
                <a:latin typeface="Arial" charset="0"/>
              </a:rPr>
              <a:t>participate</a:t>
            </a:r>
            <a:r>
              <a:rPr lang="fi-FI" dirty="0">
                <a:latin typeface="Arial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>
                <a:latin typeface="Arial" charset="0"/>
              </a:rPr>
              <a:t>Faster</a:t>
            </a:r>
            <a:r>
              <a:rPr lang="fi-FI" b="1" dirty="0">
                <a:latin typeface="Arial" charset="0"/>
              </a:rPr>
              <a:t> feedback </a:t>
            </a:r>
            <a:r>
              <a:rPr lang="fi-FI" b="1" dirty="0" err="1">
                <a:latin typeface="Arial" charset="0"/>
              </a:rPr>
              <a:t>time</a:t>
            </a:r>
            <a:r>
              <a:rPr lang="fi-FI" b="1" dirty="0">
                <a:latin typeface="Arial" charset="0"/>
              </a:rPr>
              <a:t> &amp; </a:t>
            </a:r>
            <a:r>
              <a:rPr lang="fi-FI" b="1" dirty="0" err="1">
                <a:latin typeface="Arial" charset="0"/>
              </a:rPr>
              <a:t>visibility</a:t>
            </a:r>
            <a:r>
              <a:rPr lang="fi-FI" b="1" dirty="0">
                <a:latin typeface="Arial" charset="0"/>
              </a:rPr>
              <a:t> </a:t>
            </a:r>
            <a:r>
              <a:rPr lang="fi-FI" b="1" dirty="0" err="1">
                <a:latin typeface="Arial" charset="0"/>
              </a:rPr>
              <a:t>increases</a:t>
            </a:r>
            <a:r>
              <a:rPr lang="fi-FI" b="1" dirty="0">
                <a:latin typeface="Arial" charset="0"/>
              </a:rPr>
              <a:t> </a:t>
            </a:r>
            <a:r>
              <a:rPr lang="fi-FI" b="1" dirty="0" err="1">
                <a:latin typeface="Arial" charset="0"/>
              </a:rPr>
              <a:t>productivity</a:t>
            </a:r>
            <a:r>
              <a:rPr lang="fi-FI" dirty="0">
                <a:latin typeface="Arial" charset="0"/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CD6055-5D57-C545-BEF7-BAE8388C439B}"/>
              </a:ext>
            </a:extLst>
          </p:cNvPr>
          <p:cNvSpPr txBox="1"/>
          <p:nvPr/>
        </p:nvSpPr>
        <p:spPr>
          <a:xfrm>
            <a:off x="0" y="-2395"/>
            <a:ext cx="14013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Basics in Pla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7FA210-4948-3A4F-9698-0B2D2550E871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42A546-C093-B548-83E5-79C8A43691FB}"/>
              </a:ext>
            </a:extLst>
          </p:cNvPr>
          <p:cNvSpPr/>
          <p:nvPr/>
        </p:nvSpPr>
        <p:spPr>
          <a:xfrm>
            <a:off x="0" y="305382"/>
            <a:ext cx="1401346" cy="5462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Learnings from Product 1-4</a:t>
            </a:r>
          </a:p>
        </p:txBody>
      </p:sp>
    </p:spTree>
    <p:extLst>
      <p:ext uri="{BB962C8B-B14F-4D97-AF65-F5344CB8AC3E}">
        <p14:creationId xmlns:p14="http://schemas.microsoft.com/office/powerpoint/2010/main" val="2777072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in the star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gile</a:t>
            </a:r>
          </a:p>
          <a:p>
            <a:r>
              <a:rPr lang="en-US" dirty="0"/>
              <a:t>Kanban</a:t>
            </a:r>
          </a:p>
          <a:p>
            <a:r>
              <a:rPr lang="en-US" dirty="0"/>
              <a:t>Continuous integration</a:t>
            </a:r>
          </a:p>
          <a:p>
            <a:r>
              <a:rPr lang="en-US" dirty="0"/>
              <a:t>DevOps</a:t>
            </a:r>
          </a:p>
          <a:p>
            <a:r>
              <a:rPr lang="en-US" dirty="0"/>
              <a:t>Team / project siz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45C919-07C0-8241-A1C5-3C96B4384070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8405318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uble Bracket 12"/>
          <p:cNvSpPr/>
          <p:nvPr/>
        </p:nvSpPr>
        <p:spPr>
          <a:xfrm>
            <a:off x="4541198" y="826560"/>
            <a:ext cx="4417359" cy="3986715"/>
          </a:xfrm>
          <a:prstGeom prst="bracketPair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ouble Bracket 11"/>
          <p:cNvSpPr/>
          <p:nvPr/>
        </p:nvSpPr>
        <p:spPr>
          <a:xfrm>
            <a:off x="196832" y="917024"/>
            <a:ext cx="4120179" cy="3896252"/>
          </a:xfrm>
          <a:prstGeom prst="bracketPair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05" y="74991"/>
            <a:ext cx="8229600" cy="857250"/>
          </a:xfrm>
        </p:spPr>
        <p:txBody>
          <a:bodyPr>
            <a:normAutofit/>
          </a:bodyPr>
          <a:lstStyle/>
          <a:p>
            <a:r>
              <a:rPr lang="en-US" sz="2800" dirty="0"/>
              <a:t>Traditional wastes of development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023286045"/>
              </p:ext>
            </p:extLst>
          </p:nvPr>
        </p:nvGraphicFramePr>
        <p:xfrm>
          <a:off x="-281383" y="849637"/>
          <a:ext cx="4991249" cy="34442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71924" y="1419622"/>
            <a:ext cx="4227809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Biggest waste:</a:t>
            </a:r>
          </a:p>
          <a:p>
            <a:pPr algn="ctr"/>
            <a:r>
              <a:rPr lang="en-US" sz="2400" b="1" dirty="0"/>
              <a:t> </a:t>
            </a:r>
          </a:p>
          <a:p>
            <a:pPr algn="ctr"/>
            <a:endParaRPr lang="en-US" sz="2400" b="1" dirty="0"/>
          </a:p>
          <a:p>
            <a:pPr algn="ctr"/>
            <a:r>
              <a:rPr lang="en-US" sz="3600" b="1" dirty="0"/>
              <a:t>Building the wrong thing</a:t>
            </a:r>
            <a:r>
              <a:rPr lang="en-US" sz="2400" b="1" dirty="0"/>
              <a:t>. </a:t>
            </a:r>
          </a:p>
          <a:p>
            <a:pPr algn="ctr"/>
            <a:endParaRPr lang="en-US" sz="2400" b="1" dirty="0"/>
          </a:p>
          <a:p>
            <a:pPr algn="ctr"/>
            <a:endParaRPr lang="en-US" dirty="0">
              <a:solidFill>
                <a:srgbClr val="00B050"/>
              </a:solidFill>
            </a:endParaRPr>
          </a:p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49311" y="3883616"/>
            <a:ext cx="2529860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  <a:p>
            <a:endParaRPr lang="en-US" dirty="0"/>
          </a:p>
          <a:p>
            <a:pPr algn="ctr"/>
            <a:r>
              <a:rPr lang="en-US" sz="2400" b="1" dirty="0"/>
              <a:t>Efficiency view</a:t>
            </a:r>
          </a:p>
          <a:p>
            <a:pPr algn="ctr"/>
            <a:r>
              <a:rPr lang="en-US" dirty="0"/>
              <a:t>Addressed by Agi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9912D37-F332-DD45-B69E-26D1E8B901A4}"/>
              </a:ext>
            </a:extLst>
          </p:cNvPr>
          <p:cNvSpPr txBox="1"/>
          <p:nvPr/>
        </p:nvSpPr>
        <p:spPr>
          <a:xfrm>
            <a:off x="0" y="-2395"/>
            <a:ext cx="2048702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Ways</a:t>
            </a:r>
            <a:r>
              <a:rPr lang="fi-FI" sz="1400" dirty="0"/>
              <a:t> of </a:t>
            </a:r>
            <a:r>
              <a:rPr lang="fi-FI" sz="1400" dirty="0" err="1"/>
              <a:t>working</a:t>
            </a:r>
            <a:r>
              <a:rPr lang="fi-FI" sz="1400" dirty="0"/>
              <a:t> - Lea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3ECFCE3-CC92-E549-B1D5-2FF1F1FECF2C}"/>
              </a:ext>
            </a:extLst>
          </p:cNvPr>
          <p:cNvSpPr/>
          <p:nvPr/>
        </p:nvSpPr>
        <p:spPr>
          <a:xfrm>
            <a:off x="4375168" y="4339637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2400" b="1" dirty="0"/>
              <a:t>Effectiveness view</a:t>
            </a:r>
            <a:endParaRPr lang="en-US" dirty="0"/>
          </a:p>
          <a:p>
            <a:pPr algn="ctr"/>
            <a:r>
              <a:rPr lang="en-US" dirty="0"/>
              <a:t>Addressed by principles of Lean Startu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C082B8-7E6D-6E40-BD0E-A2D5F0B02589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6407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uble Bracket 9"/>
          <p:cNvSpPr/>
          <p:nvPr/>
        </p:nvSpPr>
        <p:spPr>
          <a:xfrm>
            <a:off x="3746625" y="2554968"/>
            <a:ext cx="2882775" cy="2555464"/>
          </a:xfrm>
          <a:prstGeom prst="bracketPair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ouble Bracket 8"/>
          <p:cNvSpPr/>
          <p:nvPr/>
        </p:nvSpPr>
        <p:spPr>
          <a:xfrm>
            <a:off x="1247888" y="355002"/>
            <a:ext cx="2850429" cy="2324760"/>
          </a:xfrm>
          <a:prstGeom prst="bracketPair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479" y="-99583"/>
            <a:ext cx="7340330" cy="547938"/>
          </a:xfrm>
        </p:spPr>
        <p:txBody>
          <a:bodyPr>
            <a:normAutofit/>
          </a:bodyPr>
          <a:lstStyle/>
          <a:p>
            <a:r>
              <a:rPr lang="en-US" sz="2800" dirty="0"/>
              <a:t>Lean Startup - Effectiveness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086198726"/>
              </p:ext>
            </p:extLst>
          </p:nvPr>
        </p:nvGraphicFramePr>
        <p:xfrm>
          <a:off x="1014430" y="467400"/>
          <a:ext cx="3240360" cy="2214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826703673"/>
              </p:ext>
            </p:extLst>
          </p:nvPr>
        </p:nvGraphicFramePr>
        <p:xfrm>
          <a:off x="3275856" y="2517744"/>
          <a:ext cx="3618402" cy="243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249744" y="1437624"/>
            <a:ext cx="78098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Produc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41043" y="3543860"/>
            <a:ext cx="1396601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50" dirty="0"/>
              <a:t>Lean </a:t>
            </a:r>
          </a:p>
          <a:p>
            <a:pPr algn="ctr"/>
            <a:r>
              <a:rPr lang="en-US" sz="1350" dirty="0"/>
              <a:t>Way of Working</a:t>
            </a:r>
          </a:p>
        </p:txBody>
      </p:sp>
      <p:sp>
        <p:nvSpPr>
          <p:cNvPr id="14" name="Right Arrow 13"/>
          <p:cNvSpPr/>
          <p:nvPr/>
        </p:nvSpPr>
        <p:spPr>
          <a:xfrm rot="12726273">
            <a:off x="3538966" y="2467034"/>
            <a:ext cx="512264" cy="324587"/>
          </a:xfrm>
          <a:prstGeom prst="rightArrow">
            <a:avLst/>
          </a:prstGeom>
          <a:solidFill>
            <a:srgbClr val="008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5" name="TextBox 14"/>
          <p:cNvSpPr txBox="1"/>
          <p:nvPr/>
        </p:nvSpPr>
        <p:spPr>
          <a:xfrm>
            <a:off x="2052416" y="3319092"/>
            <a:ext cx="1478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>
                <a:solidFill>
                  <a:srgbClr val="1E1C11"/>
                </a:solidFill>
              </a:rPr>
              <a:t>Decrease time from hypothesis to proven business featur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842032" y="789553"/>
            <a:ext cx="3695242" cy="11310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In R&amp;D</a:t>
            </a:r>
          </a:p>
          <a:p>
            <a:pPr marL="214308" indent="-214308">
              <a:buFontTx/>
              <a:buChar char="-"/>
            </a:pPr>
            <a:r>
              <a:rPr lang="en-US" sz="1350" dirty="0"/>
              <a:t>One week sprints</a:t>
            </a:r>
          </a:p>
          <a:p>
            <a:endParaRPr lang="en-US" sz="1350" dirty="0"/>
          </a:p>
          <a:p>
            <a:r>
              <a:rPr lang="en-US" sz="1350" dirty="0"/>
              <a:t>In Production</a:t>
            </a:r>
          </a:p>
          <a:p>
            <a:r>
              <a:rPr lang="en-US" sz="1350" dirty="0"/>
              <a:t>- Intra-day - One week – one month deliveri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-91742" y="2355726"/>
            <a:ext cx="2048509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hink output metrics</a:t>
            </a:r>
          </a:p>
          <a:p>
            <a:pPr marL="285743" indent="-285743">
              <a:buFontTx/>
              <a:buChar char="-"/>
            </a:pPr>
            <a:r>
              <a:rPr lang="en-US" sz="1400" dirty="0"/>
              <a:t>Learning</a:t>
            </a:r>
          </a:p>
          <a:p>
            <a:pPr marL="285743" indent="-285743">
              <a:buFontTx/>
              <a:buChar char="-"/>
            </a:pPr>
            <a:r>
              <a:rPr lang="en-US" sz="1400" dirty="0"/>
              <a:t>Delay </a:t>
            </a:r>
          </a:p>
          <a:p>
            <a:pPr marL="285743" indent="-285743">
              <a:buFontTx/>
              <a:buChar char="-"/>
            </a:pPr>
            <a:r>
              <a:rPr lang="en-US" sz="1400" dirty="0"/>
              <a:t>Speed</a:t>
            </a:r>
          </a:p>
          <a:p>
            <a:pPr marL="285743" indent="-285743">
              <a:buFontTx/>
              <a:buChar char="-"/>
            </a:pPr>
            <a:r>
              <a:rPr lang="en-US" sz="1400" dirty="0"/>
              <a:t>Example: Pirate metrics</a:t>
            </a:r>
          </a:p>
          <a:p>
            <a:pPr marL="742931" lvl="1" indent="-285743">
              <a:buFontTx/>
              <a:buChar char="-"/>
            </a:pPr>
            <a:r>
              <a:rPr lang="en-US" sz="1400" dirty="0"/>
              <a:t>Acquisition</a:t>
            </a:r>
          </a:p>
          <a:p>
            <a:pPr marL="742931" lvl="1" indent="-285743">
              <a:buFontTx/>
              <a:buChar char="-"/>
            </a:pPr>
            <a:r>
              <a:rPr lang="en-US" sz="1400" dirty="0"/>
              <a:t>Activation</a:t>
            </a:r>
          </a:p>
          <a:p>
            <a:pPr marL="742931" lvl="1" indent="-285743">
              <a:buFontTx/>
              <a:buChar char="-"/>
            </a:pPr>
            <a:r>
              <a:rPr lang="en-US" sz="1400" dirty="0"/>
              <a:t>Retention</a:t>
            </a:r>
          </a:p>
          <a:p>
            <a:pPr marL="742931" lvl="1" indent="-285743">
              <a:buFontTx/>
              <a:buChar char="-"/>
            </a:pPr>
            <a:r>
              <a:rPr lang="en-US" sz="1400" dirty="0"/>
              <a:t>Referrals</a:t>
            </a:r>
          </a:p>
          <a:p>
            <a:pPr marL="742931" lvl="1" indent="-285743">
              <a:buFontTx/>
              <a:buChar char="-"/>
            </a:pPr>
            <a:r>
              <a:rPr lang="en-US" sz="1400" dirty="0"/>
              <a:t>Revenu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AFC732-0D82-834B-BA2E-3A337EEB221E}"/>
              </a:ext>
            </a:extLst>
          </p:cNvPr>
          <p:cNvSpPr txBox="1"/>
          <p:nvPr/>
        </p:nvSpPr>
        <p:spPr>
          <a:xfrm>
            <a:off x="7305035" y="-2395"/>
            <a:ext cx="1838965" cy="36933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fi-FI" b="1" dirty="0"/>
              <a:t>Learning </a:t>
            </a:r>
            <a:r>
              <a:rPr lang="fi-FI" b="1" dirty="0" err="1"/>
              <a:t>loops</a:t>
            </a:r>
            <a:endParaRPr lang="fi-FI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A1A10A-45E3-FC46-B908-CA898233E67F}"/>
              </a:ext>
            </a:extLst>
          </p:cNvPr>
          <p:cNvSpPr txBox="1"/>
          <p:nvPr/>
        </p:nvSpPr>
        <p:spPr>
          <a:xfrm>
            <a:off x="0" y="-2395"/>
            <a:ext cx="2048702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Ways</a:t>
            </a:r>
            <a:r>
              <a:rPr lang="fi-FI" sz="1400" dirty="0"/>
              <a:t> of </a:t>
            </a:r>
            <a:r>
              <a:rPr lang="fi-FI" sz="1400" dirty="0" err="1"/>
              <a:t>working</a:t>
            </a:r>
            <a:r>
              <a:rPr lang="fi-FI" sz="1400" dirty="0"/>
              <a:t> - Lea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E8E966D-10AB-E743-AF52-2B9992F305BC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105706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8" grpId="0">
        <p:bldAsOne/>
      </p:bldGraphic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ean principles in agile – Efficienc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5296595"/>
              </p:ext>
            </p:extLst>
          </p:nvPr>
        </p:nvGraphicFramePr>
        <p:xfrm>
          <a:off x="323528" y="915566"/>
          <a:ext cx="8539672" cy="36089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928866" y="4451004"/>
            <a:ext cx="5599610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rgbClr val="92D050"/>
                </a:solidFill>
              </a:rPr>
              <a:t>Maximize learning opportunities by having fast feedback loop</a:t>
            </a:r>
          </a:p>
          <a:p>
            <a:r>
              <a:rPr lang="en-US" sz="1350" b="1" dirty="0"/>
              <a:t>Prioritize biggest improvement potential that is solvable soonest. </a:t>
            </a:r>
          </a:p>
          <a:p>
            <a:r>
              <a:rPr lang="en-US" sz="1350" b="1" dirty="0">
                <a:solidFill>
                  <a:srgbClr val="92D050"/>
                </a:solidFill>
              </a:rPr>
              <a:t>Faster every spri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C825A0-8914-B44C-8ED7-795FEAD55888}"/>
              </a:ext>
            </a:extLst>
          </p:cNvPr>
          <p:cNvSpPr txBox="1"/>
          <p:nvPr/>
        </p:nvSpPr>
        <p:spPr>
          <a:xfrm>
            <a:off x="7298883" y="52934"/>
            <a:ext cx="1838965" cy="36933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fi-FI" b="1" dirty="0"/>
              <a:t>Learning </a:t>
            </a:r>
            <a:r>
              <a:rPr lang="fi-FI" b="1" dirty="0" err="1"/>
              <a:t>loops</a:t>
            </a:r>
            <a:endParaRPr lang="fi-FI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E3E85D-AF5C-C84E-98CA-EF319EF2C36F}"/>
              </a:ext>
            </a:extLst>
          </p:cNvPr>
          <p:cNvSpPr txBox="1"/>
          <p:nvPr/>
        </p:nvSpPr>
        <p:spPr>
          <a:xfrm>
            <a:off x="0" y="-2395"/>
            <a:ext cx="2048702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Ways</a:t>
            </a:r>
            <a:r>
              <a:rPr lang="fi-FI" sz="1400" dirty="0"/>
              <a:t> of </a:t>
            </a:r>
            <a:r>
              <a:rPr lang="fi-FI" sz="1400" dirty="0" err="1"/>
              <a:t>working</a:t>
            </a:r>
            <a:r>
              <a:rPr lang="fi-FI" sz="1400" dirty="0"/>
              <a:t> - Lea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801DBC-9BF0-F644-93E3-C671E431BF48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6652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" y="48309"/>
            <a:ext cx="8229600" cy="857250"/>
          </a:xfrm>
        </p:spPr>
        <p:txBody>
          <a:bodyPr>
            <a:normAutofit/>
          </a:bodyPr>
          <a:lstStyle/>
          <a:p>
            <a:r>
              <a:rPr lang="en-US" sz="2800" dirty="0"/>
              <a:t>Principles of scaling Agile (from Less)</a:t>
            </a:r>
          </a:p>
        </p:txBody>
      </p:sp>
      <p:sp>
        <p:nvSpPr>
          <p:cNvPr id="5" name="Rectangle 4"/>
          <p:cNvSpPr/>
          <p:nvPr/>
        </p:nvSpPr>
        <p:spPr>
          <a:xfrm>
            <a:off x="2286000" y="1971586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>
              <a:solidFill>
                <a:srgbClr val="262626"/>
              </a:solidFill>
              <a:latin typeface="Times-Roman" charset="0"/>
            </a:endParaRPr>
          </a:p>
          <a:p>
            <a:endParaRPr lang="en-US" dirty="0">
              <a:solidFill>
                <a:srgbClr val="262626"/>
              </a:solidFill>
              <a:latin typeface="Times-Roman" charset="0"/>
            </a:endParaRPr>
          </a:p>
          <a:p>
            <a:endParaRPr lang="en-US" dirty="0">
              <a:solidFill>
                <a:srgbClr val="262626"/>
              </a:solidFill>
              <a:latin typeface="Times-Roman" charset="0"/>
            </a:endParaRPr>
          </a:p>
          <a:p>
            <a:endParaRPr lang="en-US" dirty="0">
              <a:solidFill>
                <a:srgbClr val="262626"/>
              </a:solidFill>
              <a:latin typeface="Times-Roman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5948" y="827884"/>
            <a:ext cx="5326383" cy="364038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2288995"/>
            <a:ext cx="1300356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Fluent flow</a:t>
            </a:r>
          </a:p>
          <a:p>
            <a:r>
              <a:rPr lang="en-US" dirty="0">
                <a:solidFill>
                  <a:srgbClr val="00B0F0"/>
                </a:solidFill>
              </a:rPr>
              <a:t>Minimize </a:t>
            </a:r>
          </a:p>
          <a:p>
            <a:r>
              <a:rPr lang="en-US" dirty="0">
                <a:solidFill>
                  <a:srgbClr val="00B0F0"/>
                </a:solidFill>
              </a:rPr>
              <a:t>inventor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305036" y="3819644"/>
            <a:ext cx="1723549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Lean Startup</a:t>
            </a:r>
          </a:p>
          <a:p>
            <a:r>
              <a:rPr lang="en-US" dirty="0">
                <a:solidFill>
                  <a:srgbClr val="00B0F0"/>
                </a:solidFill>
              </a:rPr>
              <a:t>“Get out of the </a:t>
            </a:r>
          </a:p>
          <a:p>
            <a:r>
              <a:rPr lang="en-US" dirty="0">
                <a:solidFill>
                  <a:srgbClr val="00B0F0"/>
                </a:solidFill>
              </a:rPr>
              <a:t>Building”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 flipV="1">
            <a:off x="1066801" y="1583360"/>
            <a:ext cx="1016000" cy="9883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066801" y="2741069"/>
            <a:ext cx="1342382" cy="13547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15" idx="1"/>
          </p:cNvCxnSpPr>
          <p:nvPr/>
        </p:nvCxnSpPr>
        <p:spPr>
          <a:xfrm flipH="1" flipV="1">
            <a:off x="6492875" y="3792579"/>
            <a:ext cx="812161" cy="4887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7064940" y="543180"/>
            <a:ext cx="21041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Visibility – Act on It</a:t>
            </a:r>
          </a:p>
        </p:txBody>
      </p:sp>
      <p:cxnSp>
        <p:nvCxnSpPr>
          <p:cNvPr id="31" name="Straight Arrow Connector 30"/>
          <p:cNvCxnSpPr>
            <a:endCxn id="29" idx="1"/>
          </p:cNvCxnSpPr>
          <p:nvPr/>
        </p:nvCxnSpPr>
        <p:spPr>
          <a:xfrm flipV="1">
            <a:off x="5770881" y="727846"/>
            <a:ext cx="1294059" cy="48119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1159292" y="4720236"/>
            <a:ext cx="69813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Continuously Faster Feedback Loop – Increase Speed of Learning</a:t>
            </a:r>
          </a:p>
        </p:txBody>
      </p:sp>
      <p:cxnSp>
        <p:nvCxnSpPr>
          <p:cNvPr id="33" name="Straight Arrow Connector 32"/>
          <p:cNvCxnSpPr>
            <a:stCxn id="15" idx="1"/>
          </p:cNvCxnSpPr>
          <p:nvPr/>
        </p:nvCxnSpPr>
        <p:spPr>
          <a:xfrm flipH="1">
            <a:off x="3220721" y="4281309"/>
            <a:ext cx="4084315" cy="10003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398054" y="1919663"/>
            <a:ext cx="1578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MVP – MDP?</a:t>
            </a:r>
          </a:p>
        </p:txBody>
      </p:sp>
      <p:cxnSp>
        <p:nvCxnSpPr>
          <p:cNvPr id="40" name="Straight Arrow Connector 39"/>
          <p:cNvCxnSpPr/>
          <p:nvPr/>
        </p:nvCxnSpPr>
        <p:spPr>
          <a:xfrm flipH="1" flipV="1">
            <a:off x="6492877" y="1971586"/>
            <a:ext cx="762650" cy="10098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6492875" y="2389033"/>
            <a:ext cx="762651" cy="12871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>
            <a:off x="6492875" y="2212559"/>
            <a:ext cx="782655" cy="39960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91379" y="644621"/>
            <a:ext cx="30360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Effectiveness or efficiency?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7C0D44-A99E-C042-A11A-1933B7D4C1AC}"/>
              </a:ext>
            </a:extLst>
          </p:cNvPr>
          <p:cNvSpPr txBox="1"/>
          <p:nvPr/>
        </p:nvSpPr>
        <p:spPr>
          <a:xfrm>
            <a:off x="0" y="-2395"/>
            <a:ext cx="217559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Scaling</a:t>
            </a:r>
            <a:r>
              <a:rPr lang="fi-FI" sz="1400" dirty="0"/>
              <a:t> to </a:t>
            </a:r>
            <a:r>
              <a:rPr lang="fi-FI" sz="1400" dirty="0" err="1"/>
              <a:t>multiple</a:t>
            </a:r>
            <a:r>
              <a:rPr lang="fi-FI" sz="1400" dirty="0"/>
              <a:t> </a:t>
            </a:r>
            <a:r>
              <a:rPr lang="fi-FI" sz="1400" dirty="0" err="1"/>
              <a:t>teams</a:t>
            </a:r>
            <a:endParaRPr lang="fi-FI" sz="1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2D5ACF-E4ED-684A-8598-2986E8714595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79969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9F06C9-82E7-476F-8FDD-E58BB1CAE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152" y="483518"/>
            <a:ext cx="8510400" cy="685314"/>
          </a:xfrm>
        </p:spPr>
        <p:txBody>
          <a:bodyPr>
            <a:normAutofit fontScale="90000"/>
          </a:bodyPr>
          <a:lstStyle/>
          <a:p>
            <a:r>
              <a:rPr lang="fi-FI" b="1" dirty="0" err="1">
                <a:cs typeface="Arial"/>
              </a:rPr>
              <a:t>Self</a:t>
            </a:r>
            <a:r>
              <a:rPr lang="fi-FI" b="1" dirty="0">
                <a:cs typeface="Arial"/>
              </a:rPr>
              <a:t> </a:t>
            </a:r>
            <a:r>
              <a:rPr lang="fi-FI" b="1" dirty="0" err="1">
                <a:cs typeface="Arial"/>
              </a:rPr>
              <a:t>organized</a:t>
            </a:r>
            <a:r>
              <a:rPr lang="fi-FI" b="1" dirty="0">
                <a:cs typeface="Arial"/>
              </a:rPr>
              <a:t> team</a:t>
            </a:r>
            <a:r>
              <a:rPr lang="fi-FI" dirty="0">
                <a:cs typeface="Arial"/>
              </a:rPr>
              <a:t> of </a:t>
            </a:r>
            <a:r>
              <a:rPr lang="fi-FI" dirty="0" err="1">
                <a:cs typeface="Arial"/>
              </a:rPr>
              <a:t>teams</a:t>
            </a:r>
            <a:r>
              <a:rPr lang="fi-FI" dirty="0">
                <a:cs typeface="Arial"/>
              </a:rPr>
              <a:t> </a:t>
            </a:r>
            <a:r>
              <a:rPr lang="fi-FI" b="1" dirty="0" err="1">
                <a:cs typeface="Arial"/>
              </a:rPr>
              <a:t>differ</a:t>
            </a:r>
            <a:r>
              <a:rPr lang="fi-FI" dirty="0">
                <a:cs typeface="Arial"/>
              </a:rPr>
              <a:t> </a:t>
            </a:r>
            <a:r>
              <a:rPr lang="fi-FI" dirty="0" err="1">
                <a:cs typeface="Arial"/>
              </a:rPr>
              <a:t>from</a:t>
            </a:r>
            <a:r>
              <a:rPr lang="fi-FI" dirty="0">
                <a:cs typeface="Arial"/>
              </a:rPr>
              <a:t> </a:t>
            </a:r>
            <a:r>
              <a:rPr lang="fi-FI" dirty="0" err="1">
                <a:cs typeface="Arial"/>
              </a:rPr>
              <a:t>other</a:t>
            </a:r>
            <a:r>
              <a:rPr lang="fi-FI" dirty="0">
                <a:cs typeface="Arial"/>
              </a:rPr>
              <a:t> </a:t>
            </a:r>
            <a:r>
              <a:rPr lang="fi-FI" dirty="0" err="1">
                <a:cs typeface="Arial"/>
              </a:rPr>
              <a:t>forms</a:t>
            </a:r>
            <a:r>
              <a:rPr lang="fi-FI" dirty="0">
                <a:cs typeface="Arial"/>
              </a:rPr>
              <a:t> of </a:t>
            </a:r>
            <a:r>
              <a:rPr lang="fi-FI" dirty="0" err="1">
                <a:cs typeface="Arial"/>
              </a:rPr>
              <a:t>teams</a:t>
            </a:r>
            <a:r>
              <a:rPr lang="fi-FI" dirty="0">
                <a:cs typeface="Arial"/>
              </a:rPr>
              <a:t> in </a:t>
            </a:r>
            <a:r>
              <a:rPr lang="fi-FI" dirty="0" err="1">
                <a:cs typeface="Arial"/>
              </a:rPr>
              <a:t>several</a:t>
            </a:r>
            <a:r>
              <a:rPr lang="fi-FI" dirty="0">
                <a:cs typeface="Arial"/>
              </a:rPr>
              <a:t> </a:t>
            </a:r>
            <a:r>
              <a:rPr lang="fi-FI" b="1" dirty="0" err="1">
                <a:cs typeface="Arial"/>
              </a:rPr>
              <a:t>distinct</a:t>
            </a:r>
            <a:r>
              <a:rPr lang="fi-FI" dirty="0">
                <a:cs typeface="Arial"/>
              </a:rPr>
              <a:t> </a:t>
            </a:r>
            <a:r>
              <a:rPr lang="fi-FI" dirty="0" err="1">
                <a:cs typeface="Arial"/>
              </a:rPr>
              <a:t>ways</a:t>
            </a:r>
            <a:endParaRPr lang="en-US" dirty="0">
              <a:cs typeface="Arial"/>
            </a:endParaRPr>
          </a:p>
        </p:txBody>
      </p:sp>
      <p:grpSp>
        <p:nvGrpSpPr>
          <p:cNvPr id="80" name="Group 37">
            <a:extLst>
              <a:ext uri="{FF2B5EF4-FFF2-40B4-BE49-F238E27FC236}">
                <a16:creationId xmlns:a16="http://schemas.microsoft.com/office/drawing/2014/main" id="{49A6E0DD-AF43-41C2-8A0E-689E83CC8AE6}"/>
              </a:ext>
            </a:extLst>
          </p:cNvPr>
          <p:cNvGrpSpPr/>
          <p:nvPr/>
        </p:nvGrpSpPr>
        <p:grpSpPr>
          <a:xfrm>
            <a:off x="4282223" y="1761440"/>
            <a:ext cx="2131702" cy="1889197"/>
            <a:chOff x="4252968" y="1559529"/>
            <a:chExt cx="2131702" cy="1889197"/>
          </a:xfrm>
        </p:grpSpPr>
        <p:sp>
          <p:nvSpPr>
            <p:cNvPr id="13" name="TextBox 38">
              <a:extLst>
                <a:ext uri="{FF2B5EF4-FFF2-40B4-BE49-F238E27FC236}">
                  <a16:creationId xmlns:a16="http://schemas.microsoft.com/office/drawing/2014/main" id="{C687AA11-8927-4D0E-95A0-489997F5F4D1}"/>
                </a:ext>
              </a:extLst>
            </p:cNvPr>
            <p:cNvSpPr txBox="1"/>
            <p:nvPr/>
          </p:nvSpPr>
          <p:spPr>
            <a:xfrm>
              <a:off x="4677093" y="3171727"/>
              <a:ext cx="146546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i-FI" sz="1200" b="1"/>
                <a:t>Network of </a:t>
              </a:r>
              <a:r>
                <a:rPr lang="fi-FI" sz="1200" b="1" err="1"/>
                <a:t>teams</a:t>
              </a:r>
              <a:endParaRPr lang="fi-FI" sz="1200" b="1"/>
            </a:p>
          </p:txBody>
        </p:sp>
        <p:cxnSp>
          <p:nvCxnSpPr>
            <p:cNvPr id="14" name="Straight Connector 43">
              <a:extLst>
                <a:ext uri="{FF2B5EF4-FFF2-40B4-BE49-F238E27FC236}">
                  <a16:creationId xmlns:a16="http://schemas.microsoft.com/office/drawing/2014/main" id="{6AF2699B-F0A0-49A9-BCA5-CE9271626674}"/>
                </a:ext>
              </a:extLst>
            </p:cNvPr>
            <p:cNvCxnSpPr>
              <a:cxnSpLocks/>
            </p:cNvCxnSpPr>
            <p:nvPr/>
          </p:nvCxnSpPr>
          <p:spPr>
            <a:xfrm>
              <a:off x="4777386" y="2761499"/>
              <a:ext cx="389047" cy="72142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4">
              <a:extLst>
                <a:ext uri="{FF2B5EF4-FFF2-40B4-BE49-F238E27FC236}">
                  <a16:creationId xmlns:a16="http://schemas.microsoft.com/office/drawing/2014/main" id="{26292D65-F7E9-4A99-83A7-19C3CE6F996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15377" y="2369385"/>
              <a:ext cx="254419" cy="161019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5">
              <a:extLst>
                <a:ext uri="{FF2B5EF4-FFF2-40B4-BE49-F238E27FC236}">
                  <a16:creationId xmlns:a16="http://schemas.microsoft.com/office/drawing/2014/main" id="{D8D597BF-31EE-42C1-B757-770E31B8E91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94178" y="2263242"/>
              <a:ext cx="903" cy="11222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46">
              <a:extLst>
                <a:ext uri="{FF2B5EF4-FFF2-40B4-BE49-F238E27FC236}">
                  <a16:creationId xmlns:a16="http://schemas.microsoft.com/office/drawing/2014/main" id="{A3C8CB39-7850-4D1D-BE97-FE7BCAA4B3C3}"/>
                </a:ext>
              </a:extLst>
            </p:cNvPr>
            <p:cNvGrpSpPr/>
            <p:nvPr/>
          </p:nvGrpSpPr>
          <p:grpSpPr>
            <a:xfrm>
              <a:off x="4377194" y="2611968"/>
              <a:ext cx="384911" cy="196682"/>
              <a:chOff x="3628572" y="1965277"/>
              <a:chExt cx="943428" cy="425449"/>
            </a:xfrm>
          </p:grpSpPr>
          <p:sp>
            <p:nvSpPr>
              <p:cNvPr id="75" name="Freeform 96">
                <a:extLst>
                  <a:ext uri="{FF2B5EF4-FFF2-40B4-BE49-F238E27FC236}">
                    <a16:creationId xmlns:a16="http://schemas.microsoft.com/office/drawing/2014/main" id="{0F4738E6-C895-4112-BD50-185D68E8D6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4654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 96">
                <a:extLst>
                  <a:ext uri="{FF2B5EF4-FFF2-40B4-BE49-F238E27FC236}">
                    <a16:creationId xmlns:a16="http://schemas.microsoft.com/office/drawing/2014/main" id="{9AC175A5-891C-49A4-AAC1-2CCE03F2D5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6761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" name="Freeform 96">
                <a:extLst>
                  <a:ext uri="{FF2B5EF4-FFF2-40B4-BE49-F238E27FC236}">
                    <a16:creationId xmlns:a16="http://schemas.microsoft.com/office/drawing/2014/main" id="{A03F94DB-9627-4B5F-A204-814B869B0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8868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Freeform 96">
                <a:extLst>
                  <a:ext uri="{FF2B5EF4-FFF2-40B4-BE49-F238E27FC236}">
                    <a16:creationId xmlns:a16="http://schemas.microsoft.com/office/drawing/2014/main" id="{E8ABCECB-421E-43CB-9F3E-7C3A119EDE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0975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Oval 175">
                <a:extLst>
                  <a:ext uri="{FF2B5EF4-FFF2-40B4-BE49-F238E27FC236}">
                    <a16:creationId xmlns:a16="http://schemas.microsoft.com/office/drawing/2014/main" id="{0F3A360E-E583-4BE1-BDCE-8A47183F89CB}"/>
                  </a:ext>
                </a:extLst>
              </p:cNvPr>
              <p:cNvSpPr/>
              <p:nvPr/>
            </p:nvSpPr>
            <p:spPr>
              <a:xfrm>
                <a:off x="3628572" y="1965277"/>
                <a:ext cx="943428" cy="425449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8" name="Rectangle 47">
              <a:extLst>
                <a:ext uri="{FF2B5EF4-FFF2-40B4-BE49-F238E27FC236}">
                  <a16:creationId xmlns:a16="http://schemas.microsoft.com/office/drawing/2014/main" id="{79177F88-988A-4AE0-8C7C-1376821FF524}"/>
                </a:ext>
              </a:extLst>
            </p:cNvPr>
            <p:cNvSpPr/>
            <p:nvPr/>
          </p:nvSpPr>
          <p:spPr>
            <a:xfrm>
              <a:off x="4523960" y="2603154"/>
              <a:ext cx="101502" cy="170741"/>
            </a:xfrm>
            <a:prstGeom prst="rect">
              <a:avLst/>
            </a:prstGeom>
            <a:ln w="19050">
              <a:solidFill>
                <a:schemeClr val="tx1"/>
              </a:solidFill>
            </a:ln>
          </p:spPr>
          <p:txBody>
            <a:bodyPr wrap="none">
              <a:spAutoFit/>
            </a:bodyPr>
            <a:lstStyle/>
            <a:p>
              <a:r>
                <a:rPr lang="fi-FI"/>
                <a:t> </a:t>
              </a:r>
            </a:p>
          </p:txBody>
        </p:sp>
        <p:sp>
          <p:nvSpPr>
            <p:cNvPr id="19" name="Oval 48">
              <a:extLst>
                <a:ext uri="{FF2B5EF4-FFF2-40B4-BE49-F238E27FC236}">
                  <a16:creationId xmlns:a16="http://schemas.microsoft.com/office/drawing/2014/main" id="{A94632FF-70B5-4B43-AA8A-E2CC546FE89C}"/>
                </a:ext>
              </a:extLst>
            </p:cNvPr>
            <p:cNvSpPr/>
            <p:nvPr/>
          </p:nvSpPr>
          <p:spPr>
            <a:xfrm>
              <a:off x="4337263" y="2375462"/>
              <a:ext cx="515636" cy="45227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sz="800" b="1">
                <a:solidFill>
                  <a:schemeClr val="accent1"/>
                </a:solidFill>
              </a:endParaRPr>
            </a:p>
          </p:txBody>
        </p:sp>
        <p:pic>
          <p:nvPicPr>
            <p:cNvPr id="20" name="Graphic 19" descr="User">
              <a:extLst>
                <a:ext uri="{FF2B5EF4-FFF2-40B4-BE49-F238E27FC236}">
                  <a16:creationId xmlns:a16="http://schemas.microsoft.com/office/drawing/2014/main" id="{478B6E13-E4CE-48D2-8EBA-DBBAE76C2B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503983" y="2416297"/>
              <a:ext cx="144866" cy="164149"/>
            </a:xfrm>
            <a:prstGeom prst="rect">
              <a:avLst/>
            </a:prstGeom>
          </p:spPr>
        </p:pic>
        <p:pic>
          <p:nvPicPr>
            <p:cNvPr id="21" name="Graphic 20" descr="User">
              <a:extLst>
                <a:ext uri="{FF2B5EF4-FFF2-40B4-BE49-F238E27FC236}">
                  <a16:creationId xmlns:a16="http://schemas.microsoft.com/office/drawing/2014/main" id="{6DE50E8E-E122-4CDA-BA8E-9630E25844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57611" y="2535889"/>
              <a:ext cx="144866" cy="164149"/>
            </a:xfrm>
            <a:prstGeom prst="rect">
              <a:avLst/>
            </a:prstGeom>
          </p:spPr>
        </p:pic>
        <p:pic>
          <p:nvPicPr>
            <p:cNvPr id="22" name="Graphic 21" descr="User">
              <a:extLst>
                <a:ext uri="{FF2B5EF4-FFF2-40B4-BE49-F238E27FC236}">
                  <a16:creationId xmlns:a16="http://schemas.microsoft.com/office/drawing/2014/main" id="{62F57EE7-ECE4-4499-A0A3-7CE602A795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70511" y="2448329"/>
              <a:ext cx="144866" cy="164149"/>
            </a:xfrm>
            <a:prstGeom prst="rect">
              <a:avLst/>
            </a:prstGeom>
          </p:spPr>
        </p:pic>
        <p:pic>
          <p:nvPicPr>
            <p:cNvPr id="23" name="Graphic 22" descr="User">
              <a:extLst>
                <a:ext uri="{FF2B5EF4-FFF2-40B4-BE49-F238E27FC236}">
                  <a16:creationId xmlns:a16="http://schemas.microsoft.com/office/drawing/2014/main" id="{4D8049BE-A513-487C-B716-215D1BC2B8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379277" y="2448329"/>
              <a:ext cx="144866" cy="164149"/>
            </a:xfrm>
            <a:prstGeom prst="rect">
              <a:avLst/>
            </a:prstGeom>
          </p:spPr>
        </p:pic>
        <p:pic>
          <p:nvPicPr>
            <p:cNvPr id="24" name="Graphic 23" descr="User">
              <a:extLst>
                <a:ext uri="{FF2B5EF4-FFF2-40B4-BE49-F238E27FC236}">
                  <a16:creationId xmlns:a16="http://schemas.microsoft.com/office/drawing/2014/main" id="{A12044B4-B76C-41BD-BF15-F09635EA081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447949" y="2568321"/>
              <a:ext cx="144866" cy="164149"/>
            </a:xfrm>
            <a:prstGeom prst="rect">
              <a:avLst/>
            </a:prstGeom>
          </p:spPr>
        </p:pic>
        <p:pic>
          <p:nvPicPr>
            <p:cNvPr id="25" name="Picture 54" descr="A person sitting on a bed&#10;&#10;Description generated with very high confidence">
              <a:extLst>
                <a:ext uri="{FF2B5EF4-FFF2-40B4-BE49-F238E27FC236}">
                  <a16:creationId xmlns:a16="http://schemas.microsoft.com/office/drawing/2014/main" id="{C4C34A32-36AE-438E-9F33-7AD18250EE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4254" t="10714" r="11174" b="7380"/>
            <a:stretch/>
          </p:blipFill>
          <p:spPr>
            <a:xfrm>
              <a:off x="4252968" y="1822641"/>
              <a:ext cx="682420" cy="440601"/>
            </a:xfrm>
            <a:prstGeom prst="ellipse">
              <a:avLst/>
            </a:prstGeom>
            <a:ln w="19050" cap="rnd">
              <a:solidFill>
                <a:schemeClr val="bg1">
                  <a:lumMod val="85000"/>
                </a:schemeClr>
              </a:solidFill>
            </a:ln>
            <a:effectLst/>
          </p:spPr>
        </p:pic>
        <p:grpSp>
          <p:nvGrpSpPr>
            <p:cNvPr id="26" name="Group 55">
              <a:extLst>
                <a:ext uri="{FF2B5EF4-FFF2-40B4-BE49-F238E27FC236}">
                  <a16:creationId xmlns:a16="http://schemas.microsoft.com/office/drawing/2014/main" id="{073928D7-ECC0-4676-BEA4-F4F48E8B8723}"/>
                </a:ext>
              </a:extLst>
            </p:cNvPr>
            <p:cNvGrpSpPr/>
            <p:nvPr/>
          </p:nvGrpSpPr>
          <p:grpSpPr>
            <a:xfrm>
              <a:off x="5069796" y="2143248"/>
              <a:ext cx="515636" cy="452269"/>
              <a:chOff x="2467506" y="1807826"/>
              <a:chExt cx="840786" cy="737463"/>
            </a:xfrm>
          </p:grpSpPr>
          <p:grpSp>
            <p:nvGrpSpPr>
              <p:cNvPr id="62" name="Group 133">
                <a:extLst>
                  <a:ext uri="{FF2B5EF4-FFF2-40B4-BE49-F238E27FC236}">
                    <a16:creationId xmlns:a16="http://schemas.microsoft.com/office/drawing/2014/main" id="{841654F2-1792-470A-BED5-A2EA216A36EC}"/>
                  </a:ext>
                </a:extLst>
              </p:cNvPr>
              <p:cNvGrpSpPr/>
              <p:nvPr/>
            </p:nvGrpSpPr>
            <p:grpSpPr>
              <a:xfrm>
                <a:off x="2532610" y="2193476"/>
                <a:ext cx="627626" cy="320708"/>
                <a:chOff x="3628572" y="1965277"/>
                <a:chExt cx="943428" cy="425449"/>
              </a:xfrm>
            </p:grpSpPr>
            <p:sp>
              <p:nvSpPr>
                <p:cNvPr id="70" name="Freeform 96">
                  <a:extLst>
                    <a:ext uri="{FF2B5EF4-FFF2-40B4-BE49-F238E27FC236}">
                      <a16:creationId xmlns:a16="http://schemas.microsoft.com/office/drawing/2014/main" id="{BB99BD28-3932-4E3E-A9C2-A681FD82615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4654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96">
                  <a:extLst>
                    <a:ext uri="{FF2B5EF4-FFF2-40B4-BE49-F238E27FC236}">
                      <a16:creationId xmlns:a16="http://schemas.microsoft.com/office/drawing/2014/main" id="{8C37DC42-B55B-4B33-8E23-19C1A451DF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86761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 96">
                  <a:extLst>
                    <a:ext uri="{FF2B5EF4-FFF2-40B4-BE49-F238E27FC236}">
                      <a16:creationId xmlns:a16="http://schemas.microsoft.com/office/drawing/2014/main" id="{82165DEA-4685-41B6-BD8F-F61F3E301B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88868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96">
                  <a:extLst>
                    <a:ext uri="{FF2B5EF4-FFF2-40B4-BE49-F238E27FC236}">
                      <a16:creationId xmlns:a16="http://schemas.microsoft.com/office/drawing/2014/main" id="{D5DD3CC5-2896-4CEF-958E-9159081A3E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90975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Oval 163">
                  <a:extLst>
                    <a:ext uri="{FF2B5EF4-FFF2-40B4-BE49-F238E27FC236}">
                      <a16:creationId xmlns:a16="http://schemas.microsoft.com/office/drawing/2014/main" id="{C32E2F4B-EB92-4868-A0D3-DA3FCD73E2EC}"/>
                    </a:ext>
                  </a:extLst>
                </p:cNvPr>
                <p:cNvSpPr/>
                <p:nvPr/>
              </p:nvSpPr>
              <p:spPr>
                <a:xfrm>
                  <a:off x="3628572" y="1965277"/>
                  <a:ext cx="943428" cy="425449"/>
                </a:xfrm>
                <a:prstGeom prst="ellips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3" name="Rectangle 134">
                <a:extLst>
                  <a:ext uri="{FF2B5EF4-FFF2-40B4-BE49-F238E27FC236}">
                    <a16:creationId xmlns:a16="http://schemas.microsoft.com/office/drawing/2014/main" id="{ADA4984B-0152-44E3-98D6-BB8D2A17E3F5}"/>
                  </a:ext>
                </a:extLst>
              </p:cNvPr>
              <p:cNvSpPr/>
              <p:nvPr/>
            </p:nvSpPr>
            <p:spPr>
              <a:xfrm>
                <a:off x="2771930" y="2179097"/>
                <a:ext cx="165507" cy="278407"/>
              </a:xfrm>
              <a:prstGeom prst="rect">
                <a:avLst/>
              </a:prstGeom>
              <a:ln w="19050">
                <a:solidFill>
                  <a:schemeClr val="tx1"/>
                </a:solidFill>
              </a:ln>
            </p:spPr>
            <p:txBody>
              <a:bodyPr wrap="none">
                <a:spAutoFit/>
              </a:bodyPr>
              <a:lstStyle/>
              <a:p>
                <a:r>
                  <a:rPr lang="fi-FI"/>
                  <a:t> </a:t>
                </a:r>
              </a:p>
            </p:txBody>
          </p:sp>
          <p:sp>
            <p:nvSpPr>
              <p:cNvPr id="64" name="Oval 138">
                <a:extLst>
                  <a:ext uri="{FF2B5EF4-FFF2-40B4-BE49-F238E27FC236}">
                    <a16:creationId xmlns:a16="http://schemas.microsoft.com/office/drawing/2014/main" id="{AC8AD661-9472-45C4-919E-4E99783969D9}"/>
                  </a:ext>
                </a:extLst>
              </p:cNvPr>
              <p:cNvSpPr/>
              <p:nvPr/>
            </p:nvSpPr>
            <p:spPr>
              <a:xfrm>
                <a:off x="2467506" y="1807826"/>
                <a:ext cx="840786" cy="737463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i-FI" sz="800" b="1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65" name="Graphic 64" descr="User">
                <a:extLst>
                  <a:ext uri="{FF2B5EF4-FFF2-40B4-BE49-F238E27FC236}">
                    <a16:creationId xmlns:a16="http://schemas.microsoft.com/office/drawing/2014/main" id="{3803F6BC-6E80-417C-B049-1263DB44DB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739356" y="1874411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66" name="Graphic 65" descr="User">
                <a:extLst>
                  <a:ext uri="{FF2B5EF4-FFF2-40B4-BE49-F238E27FC236}">
                    <a16:creationId xmlns:a16="http://schemas.microsoft.com/office/drawing/2014/main" id="{0A049EA2-B57D-40FC-8439-E4DEF5DF56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826801" y="2069416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67" name="Graphic 66" descr="User">
                <a:extLst>
                  <a:ext uri="{FF2B5EF4-FFF2-40B4-BE49-F238E27FC236}">
                    <a16:creationId xmlns:a16="http://schemas.microsoft.com/office/drawing/2014/main" id="{433FEB17-6F63-4268-B895-E8992F5B02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10894" y="1926641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68" name="Graphic 67" descr="User">
                <a:extLst>
                  <a:ext uri="{FF2B5EF4-FFF2-40B4-BE49-F238E27FC236}">
                    <a16:creationId xmlns:a16="http://schemas.microsoft.com/office/drawing/2014/main" id="{8FC518CE-E670-4B30-A4E6-B708E9F223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2536013" y="1926641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69" name="Graphic 68" descr="User">
                <a:extLst>
                  <a:ext uri="{FF2B5EF4-FFF2-40B4-BE49-F238E27FC236}">
                    <a16:creationId xmlns:a16="http://schemas.microsoft.com/office/drawing/2014/main" id="{9B79E1F2-34C7-4550-979C-84F85C8702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647989" y="2122299"/>
                <a:ext cx="236216" cy="267659"/>
              </a:xfrm>
              <a:prstGeom prst="rect">
                <a:avLst/>
              </a:prstGeom>
            </p:spPr>
          </p:pic>
        </p:grpSp>
        <p:grpSp>
          <p:nvGrpSpPr>
            <p:cNvPr id="27" name="Group 56">
              <a:extLst>
                <a:ext uri="{FF2B5EF4-FFF2-40B4-BE49-F238E27FC236}">
                  <a16:creationId xmlns:a16="http://schemas.microsoft.com/office/drawing/2014/main" id="{408671AE-1435-4AEB-AFF5-718DEEC1F3E8}"/>
                </a:ext>
              </a:extLst>
            </p:cNvPr>
            <p:cNvGrpSpPr/>
            <p:nvPr/>
          </p:nvGrpSpPr>
          <p:grpSpPr>
            <a:xfrm>
              <a:off x="5796812" y="2265508"/>
              <a:ext cx="515636" cy="452269"/>
              <a:chOff x="2467506" y="1807826"/>
              <a:chExt cx="840786" cy="737463"/>
            </a:xfrm>
          </p:grpSpPr>
          <p:grpSp>
            <p:nvGrpSpPr>
              <p:cNvPr id="49" name="Group 110">
                <a:extLst>
                  <a:ext uri="{FF2B5EF4-FFF2-40B4-BE49-F238E27FC236}">
                    <a16:creationId xmlns:a16="http://schemas.microsoft.com/office/drawing/2014/main" id="{4E758141-9496-42E6-8A35-05BDD1BA661D}"/>
                  </a:ext>
                </a:extLst>
              </p:cNvPr>
              <p:cNvGrpSpPr/>
              <p:nvPr/>
            </p:nvGrpSpPr>
            <p:grpSpPr>
              <a:xfrm>
                <a:off x="2532610" y="2193476"/>
                <a:ext cx="627626" cy="320708"/>
                <a:chOff x="3628572" y="1965277"/>
                <a:chExt cx="943428" cy="425449"/>
              </a:xfrm>
            </p:grpSpPr>
            <p:sp>
              <p:nvSpPr>
                <p:cNvPr id="57" name="Freeform 96">
                  <a:extLst>
                    <a:ext uri="{FF2B5EF4-FFF2-40B4-BE49-F238E27FC236}">
                      <a16:creationId xmlns:a16="http://schemas.microsoft.com/office/drawing/2014/main" id="{5CAE7402-4CA2-48D3-8012-4580F6724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4654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96">
                  <a:extLst>
                    <a:ext uri="{FF2B5EF4-FFF2-40B4-BE49-F238E27FC236}">
                      <a16:creationId xmlns:a16="http://schemas.microsoft.com/office/drawing/2014/main" id="{C49C4458-6F0A-47DF-B2AE-AEBC8B3018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86761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96">
                  <a:extLst>
                    <a:ext uri="{FF2B5EF4-FFF2-40B4-BE49-F238E27FC236}">
                      <a16:creationId xmlns:a16="http://schemas.microsoft.com/office/drawing/2014/main" id="{1DACF144-A49B-42DF-AEF0-A987FCE241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88868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 96">
                  <a:extLst>
                    <a:ext uri="{FF2B5EF4-FFF2-40B4-BE49-F238E27FC236}">
                      <a16:creationId xmlns:a16="http://schemas.microsoft.com/office/drawing/2014/main" id="{44A0A531-C476-47BE-97DB-EF6AAE0638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90975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Oval 132">
                  <a:extLst>
                    <a:ext uri="{FF2B5EF4-FFF2-40B4-BE49-F238E27FC236}">
                      <a16:creationId xmlns:a16="http://schemas.microsoft.com/office/drawing/2014/main" id="{537AFF08-4498-4A6E-BB87-356CED3BFA9D}"/>
                    </a:ext>
                  </a:extLst>
                </p:cNvPr>
                <p:cNvSpPr/>
                <p:nvPr/>
              </p:nvSpPr>
              <p:spPr>
                <a:xfrm>
                  <a:off x="3628572" y="1965277"/>
                  <a:ext cx="943428" cy="425449"/>
                </a:xfrm>
                <a:prstGeom prst="ellips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" name="Rectangle 113">
                <a:extLst>
                  <a:ext uri="{FF2B5EF4-FFF2-40B4-BE49-F238E27FC236}">
                    <a16:creationId xmlns:a16="http://schemas.microsoft.com/office/drawing/2014/main" id="{E8D6B683-400D-42B0-A647-BA1A61127797}"/>
                  </a:ext>
                </a:extLst>
              </p:cNvPr>
              <p:cNvSpPr/>
              <p:nvPr/>
            </p:nvSpPr>
            <p:spPr>
              <a:xfrm>
                <a:off x="2771930" y="2179097"/>
                <a:ext cx="165507" cy="278407"/>
              </a:xfrm>
              <a:prstGeom prst="rect">
                <a:avLst/>
              </a:prstGeom>
              <a:ln w="19050">
                <a:solidFill>
                  <a:schemeClr val="tx1"/>
                </a:solidFill>
              </a:ln>
            </p:spPr>
            <p:txBody>
              <a:bodyPr wrap="none">
                <a:spAutoFit/>
              </a:bodyPr>
              <a:lstStyle/>
              <a:p>
                <a:r>
                  <a:rPr lang="fi-FI"/>
                  <a:t> </a:t>
                </a:r>
              </a:p>
            </p:txBody>
          </p:sp>
          <p:sp>
            <p:nvSpPr>
              <p:cNvPr id="51" name="Oval 114">
                <a:extLst>
                  <a:ext uri="{FF2B5EF4-FFF2-40B4-BE49-F238E27FC236}">
                    <a16:creationId xmlns:a16="http://schemas.microsoft.com/office/drawing/2014/main" id="{A3453A15-5D6A-46E9-9677-68943FBF61D4}"/>
                  </a:ext>
                </a:extLst>
              </p:cNvPr>
              <p:cNvSpPr/>
              <p:nvPr/>
            </p:nvSpPr>
            <p:spPr>
              <a:xfrm>
                <a:off x="2467506" y="1807826"/>
                <a:ext cx="840786" cy="737463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i-FI" sz="800" b="1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52" name="Graphic 51" descr="User">
                <a:extLst>
                  <a:ext uri="{FF2B5EF4-FFF2-40B4-BE49-F238E27FC236}">
                    <a16:creationId xmlns:a16="http://schemas.microsoft.com/office/drawing/2014/main" id="{393F88E4-9FB7-4A4C-990C-57294E5FD3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739356" y="1874411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53" name="Graphic 52" descr="User">
                <a:extLst>
                  <a:ext uri="{FF2B5EF4-FFF2-40B4-BE49-F238E27FC236}">
                    <a16:creationId xmlns:a16="http://schemas.microsoft.com/office/drawing/2014/main" id="{66976662-4D8C-4B90-93D2-E3D187EA7B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826801" y="2069416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54" name="Graphic 53" descr="User">
                <a:extLst>
                  <a:ext uri="{FF2B5EF4-FFF2-40B4-BE49-F238E27FC236}">
                    <a16:creationId xmlns:a16="http://schemas.microsoft.com/office/drawing/2014/main" id="{1D3C0DCB-DECF-4944-AD8B-C11A30CEF9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10894" y="1926641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55" name="Graphic 54" descr="User">
                <a:extLst>
                  <a:ext uri="{FF2B5EF4-FFF2-40B4-BE49-F238E27FC236}">
                    <a16:creationId xmlns:a16="http://schemas.microsoft.com/office/drawing/2014/main" id="{8F0EE689-4524-4214-8A28-3B1C1458E1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2536013" y="1926641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56" name="Graphic 55" descr="User">
                <a:extLst>
                  <a:ext uri="{FF2B5EF4-FFF2-40B4-BE49-F238E27FC236}">
                    <a16:creationId xmlns:a16="http://schemas.microsoft.com/office/drawing/2014/main" id="{6A87BEDA-90F2-482F-921B-100973CE9A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647989" y="2122299"/>
                <a:ext cx="236216" cy="267659"/>
              </a:xfrm>
              <a:prstGeom prst="rect">
                <a:avLst/>
              </a:prstGeom>
            </p:spPr>
          </p:pic>
        </p:grpSp>
        <p:pic>
          <p:nvPicPr>
            <p:cNvPr id="28" name="Picture 57" descr="A person standing in front of a window&#10;&#10;Description generated with very high confidence">
              <a:extLst>
                <a:ext uri="{FF2B5EF4-FFF2-40B4-BE49-F238E27FC236}">
                  <a16:creationId xmlns:a16="http://schemas.microsoft.com/office/drawing/2014/main" id="{476DD0A1-73DF-4041-AAED-5FD407045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742991" y="1719708"/>
              <a:ext cx="641679" cy="427786"/>
            </a:xfrm>
            <a:prstGeom prst="ellipse">
              <a:avLst/>
            </a:prstGeom>
            <a:ln w="19050" cap="rnd"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29" name="Picture 58" descr="A person standing next to a body of water&#10;&#10;Description generated with very high confidence">
              <a:extLst>
                <a:ext uri="{FF2B5EF4-FFF2-40B4-BE49-F238E27FC236}">
                  <a16:creationId xmlns:a16="http://schemas.microsoft.com/office/drawing/2014/main" id="{FAC5C857-29B9-40EB-89D4-694C22EB3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999553" y="1559529"/>
              <a:ext cx="656123" cy="437415"/>
            </a:xfrm>
            <a:prstGeom prst="ellipse">
              <a:avLst/>
            </a:prstGeom>
            <a:ln w="19050" cap="rnd">
              <a:solidFill>
                <a:schemeClr val="bg1">
                  <a:lumMod val="85000"/>
                </a:schemeClr>
              </a:solidFill>
            </a:ln>
            <a:effectLst/>
          </p:spPr>
        </p:pic>
        <p:cxnSp>
          <p:nvCxnSpPr>
            <p:cNvPr id="30" name="Straight Connector 59">
              <a:extLst>
                <a:ext uri="{FF2B5EF4-FFF2-40B4-BE49-F238E27FC236}">
                  <a16:creationId xmlns:a16="http://schemas.microsoft.com/office/drawing/2014/main" id="{9A116204-2EC7-4AD5-8F5A-16941D9FA1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315560" y="1943066"/>
              <a:ext cx="12054" cy="200184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60">
              <a:extLst>
                <a:ext uri="{FF2B5EF4-FFF2-40B4-BE49-F238E27FC236}">
                  <a16:creationId xmlns:a16="http://schemas.microsoft.com/office/drawing/2014/main" id="{9A295336-4CC8-48B0-AD00-EDE929B0A03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54630" y="2147494"/>
              <a:ext cx="9201" cy="118016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oup 61">
              <a:extLst>
                <a:ext uri="{FF2B5EF4-FFF2-40B4-BE49-F238E27FC236}">
                  <a16:creationId xmlns:a16="http://schemas.microsoft.com/office/drawing/2014/main" id="{BC27F608-7941-4052-A64D-6AF51C5993E4}"/>
                </a:ext>
              </a:extLst>
            </p:cNvPr>
            <p:cNvGrpSpPr/>
            <p:nvPr/>
          </p:nvGrpSpPr>
          <p:grpSpPr>
            <a:xfrm>
              <a:off x="5124419" y="2678697"/>
              <a:ext cx="515636" cy="452269"/>
              <a:chOff x="2467506" y="1807826"/>
              <a:chExt cx="840786" cy="737463"/>
            </a:xfrm>
          </p:grpSpPr>
          <p:grpSp>
            <p:nvGrpSpPr>
              <p:cNvPr id="36" name="Group 97">
                <a:extLst>
                  <a:ext uri="{FF2B5EF4-FFF2-40B4-BE49-F238E27FC236}">
                    <a16:creationId xmlns:a16="http://schemas.microsoft.com/office/drawing/2014/main" id="{B68EB14F-32DA-47AF-A593-09A3C0875135}"/>
                  </a:ext>
                </a:extLst>
              </p:cNvPr>
              <p:cNvGrpSpPr/>
              <p:nvPr/>
            </p:nvGrpSpPr>
            <p:grpSpPr>
              <a:xfrm>
                <a:off x="2532610" y="2193476"/>
                <a:ext cx="627626" cy="320708"/>
                <a:chOff x="3628572" y="1965277"/>
                <a:chExt cx="943428" cy="425449"/>
              </a:xfrm>
            </p:grpSpPr>
            <p:sp>
              <p:nvSpPr>
                <p:cNvPr id="44" name="Freeform 96">
                  <a:extLst>
                    <a:ext uri="{FF2B5EF4-FFF2-40B4-BE49-F238E27FC236}">
                      <a16:creationId xmlns:a16="http://schemas.microsoft.com/office/drawing/2014/main" id="{68C04DBB-FB47-4FE6-9235-F35B06ACA4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4654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96">
                  <a:extLst>
                    <a:ext uri="{FF2B5EF4-FFF2-40B4-BE49-F238E27FC236}">
                      <a16:creationId xmlns:a16="http://schemas.microsoft.com/office/drawing/2014/main" id="{BE59DE9A-FA69-4640-BE5C-4ECCD7B645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86761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96">
                  <a:extLst>
                    <a:ext uri="{FF2B5EF4-FFF2-40B4-BE49-F238E27FC236}">
                      <a16:creationId xmlns:a16="http://schemas.microsoft.com/office/drawing/2014/main" id="{FEB9ACC1-61C4-4FB9-A2D8-5217C8A628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88868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96">
                  <a:extLst>
                    <a:ext uri="{FF2B5EF4-FFF2-40B4-BE49-F238E27FC236}">
                      <a16:creationId xmlns:a16="http://schemas.microsoft.com/office/drawing/2014/main" id="{D9AE7259-EBA6-4608-8E0D-E24DD02AA8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90975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Oval 109">
                  <a:extLst>
                    <a:ext uri="{FF2B5EF4-FFF2-40B4-BE49-F238E27FC236}">
                      <a16:creationId xmlns:a16="http://schemas.microsoft.com/office/drawing/2014/main" id="{8F7652EE-1D4B-40CA-8046-1AB22764794E}"/>
                    </a:ext>
                  </a:extLst>
                </p:cNvPr>
                <p:cNvSpPr/>
                <p:nvPr/>
              </p:nvSpPr>
              <p:spPr>
                <a:xfrm>
                  <a:off x="3628572" y="1965277"/>
                  <a:ext cx="943428" cy="425449"/>
                </a:xfrm>
                <a:prstGeom prst="ellips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7" name="Rectangle 98">
                <a:extLst>
                  <a:ext uri="{FF2B5EF4-FFF2-40B4-BE49-F238E27FC236}">
                    <a16:creationId xmlns:a16="http://schemas.microsoft.com/office/drawing/2014/main" id="{954AA48A-91AD-48D2-BAAF-9C158C04EAD8}"/>
                  </a:ext>
                </a:extLst>
              </p:cNvPr>
              <p:cNvSpPr/>
              <p:nvPr/>
            </p:nvSpPr>
            <p:spPr>
              <a:xfrm>
                <a:off x="2771930" y="2179097"/>
                <a:ext cx="165507" cy="278407"/>
              </a:xfrm>
              <a:prstGeom prst="rect">
                <a:avLst/>
              </a:prstGeom>
              <a:ln w="19050">
                <a:solidFill>
                  <a:schemeClr val="tx1"/>
                </a:solidFill>
              </a:ln>
            </p:spPr>
            <p:txBody>
              <a:bodyPr wrap="none">
                <a:spAutoFit/>
              </a:bodyPr>
              <a:lstStyle/>
              <a:p>
                <a:r>
                  <a:rPr lang="fi-FI"/>
                  <a:t> </a:t>
                </a:r>
              </a:p>
            </p:txBody>
          </p:sp>
          <p:sp>
            <p:nvSpPr>
              <p:cNvPr id="38" name="Oval 99">
                <a:extLst>
                  <a:ext uri="{FF2B5EF4-FFF2-40B4-BE49-F238E27FC236}">
                    <a16:creationId xmlns:a16="http://schemas.microsoft.com/office/drawing/2014/main" id="{4E5DAD20-A7BA-4CC4-83FF-2E17AAC7AC23}"/>
                  </a:ext>
                </a:extLst>
              </p:cNvPr>
              <p:cNvSpPr/>
              <p:nvPr/>
            </p:nvSpPr>
            <p:spPr>
              <a:xfrm>
                <a:off x="2467506" y="1807826"/>
                <a:ext cx="840786" cy="737463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i-FI" sz="800" b="1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39" name="Graphic 38" descr="User">
                <a:extLst>
                  <a:ext uri="{FF2B5EF4-FFF2-40B4-BE49-F238E27FC236}">
                    <a16:creationId xmlns:a16="http://schemas.microsoft.com/office/drawing/2014/main" id="{060BBA74-BB38-4012-933C-3954B069F8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739356" y="1874411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40" name="Graphic 39" descr="User">
                <a:extLst>
                  <a:ext uri="{FF2B5EF4-FFF2-40B4-BE49-F238E27FC236}">
                    <a16:creationId xmlns:a16="http://schemas.microsoft.com/office/drawing/2014/main" id="{512985E7-AD4D-4B4A-80E0-0DECB978E7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826801" y="2069416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41" name="Graphic 40" descr="User">
                <a:extLst>
                  <a:ext uri="{FF2B5EF4-FFF2-40B4-BE49-F238E27FC236}">
                    <a16:creationId xmlns:a16="http://schemas.microsoft.com/office/drawing/2014/main" id="{748E2B78-034C-45D4-855C-6A84515B46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010894" y="1926641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42" name="Graphic 41" descr="User">
                <a:extLst>
                  <a:ext uri="{FF2B5EF4-FFF2-40B4-BE49-F238E27FC236}">
                    <a16:creationId xmlns:a16="http://schemas.microsoft.com/office/drawing/2014/main" id="{BCDBD4FC-7485-4EB6-A662-2724B51C25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2536013" y="1926641"/>
                <a:ext cx="236216" cy="267659"/>
              </a:xfrm>
              <a:prstGeom prst="rect">
                <a:avLst/>
              </a:prstGeom>
            </p:spPr>
          </p:pic>
          <p:pic>
            <p:nvPicPr>
              <p:cNvPr id="43" name="Graphic 42" descr="User">
                <a:extLst>
                  <a:ext uri="{FF2B5EF4-FFF2-40B4-BE49-F238E27FC236}">
                    <a16:creationId xmlns:a16="http://schemas.microsoft.com/office/drawing/2014/main" id="{7BDEEE76-2CFF-4901-8CA3-5AD7C20CCD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647989" y="2122299"/>
                <a:ext cx="236216" cy="267659"/>
              </a:xfrm>
              <a:prstGeom prst="rect">
                <a:avLst/>
              </a:prstGeom>
            </p:spPr>
          </p:pic>
        </p:grpSp>
        <p:cxnSp>
          <p:nvCxnSpPr>
            <p:cNvPr id="33" name="Straight Connector 62">
              <a:extLst>
                <a:ext uri="{FF2B5EF4-FFF2-40B4-BE49-F238E27FC236}">
                  <a16:creationId xmlns:a16="http://schemas.microsoft.com/office/drawing/2014/main" id="{381DF73E-9CB9-416C-87F5-31D396FF75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02533" y="2651547"/>
              <a:ext cx="269792" cy="182094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95">
              <a:extLst>
                <a:ext uri="{FF2B5EF4-FFF2-40B4-BE49-F238E27FC236}">
                  <a16:creationId xmlns:a16="http://schemas.microsoft.com/office/drawing/2014/main" id="{8ADD84B3-7AD8-4268-88AE-602515A86297}"/>
                </a:ext>
              </a:extLst>
            </p:cNvPr>
            <p:cNvCxnSpPr>
              <a:cxnSpLocks/>
            </p:cNvCxnSpPr>
            <p:nvPr/>
          </p:nvCxnSpPr>
          <p:spPr>
            <a:xfrm>
              <a:off x="5585432" y="2369385"/>
              <a:ext cx="211380" cy="12226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96">
              <a:extLst>
                <a:ext uri="{FF2B5EF4-FFF2-40B4-BE49-F238E27FC236}">
                  <a16:creationId xmlns:a16="http://schemas.microsoft.com/office/drawing/2014/main" id="{790A5C90-FB27-4525-8CD0-7B9F66DB1627}"/>
                </a:ext>
              </a:extLst>
            </p:cNvPr>
            <p:cNvCxnSpPr>
              <a:cxnSpLocks/>
            </p:cNvCxnSpPr>
            <p:nvPr/>
          </p:nvCxnSpPr>
          <p:spPr>
            <a:xfrm>
              <a:off x="5338640" y="2577683"/>
              <a:ext cx="43597" cy="101016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B781F88-A03F-416E-880C-ABBB9C64CC3A}"/>
              </a:ext>
            </a:extLst>
          </p:cNvPr>
          <p:cNvCxnSpPr>
            <a:cxnSpLocks/>
          </p:cNvCxnSpPr>
          <p:nvPr/>
        </p:nvCxnSpPr>
        <p:spPr>
          <a:xfrm flipV="1">
            <a:off x="2668008" y="3029644"/>
            <a:ext cx="1968233" cy="204841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F93BCE47-3062-4784-9EA7-6570F125772A}"/>
              </a:ext>
            </a:extLst>
          </p:cNvPr>
          <p:cNvCxnSpPr>
            <a:cxnSpLocks/>
          </p:cNvCxnSpPr>
          <p:nvPr/>
        </p:nvCxnSpPr>
        <p:spPr>
          <a:xfrm>
            <a:off x="2712169" y="2189909"/>
            <a:ext cx="1918120" cy="387465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CDBDCCD7-E32C-4357-BC55-4E333DFD5D37}"/>
              </a:ext>
            </a:extLst>
          </p:cNvPr>
          <p:cNvCxnSpPr>
            <a:cxnSpLocks/>
          </p:cNvCxnSpPr>
          <p:nvPr/>
        </p:nvCxnSpPr>
        <p:spPr>
          <a:xfrm flipV="1">
            <a:off x="5356868" y="2240127"/>
            <a:ext cx="1989496" cy="105034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CD770FFB-DD3F-4CDB-A33E-63A9E9B35629}"/>
              </a:ext>
            </a:extLst>
          </p:cNvPr>
          <p:cNvCxnSpPr>
            <a:cxnSpLocks/>
          </p:cNvCxnSpPr>
          <p:nvPr/>
        </p:nvCxnSpPr>
        <p:spPr>
          <a:xfrm flipV="1">
            <a:off x="5593796" y="2884507"/>
            <a:ext cx="2034957" cy="38214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23BD5A2C-B9A6-4233-80E3-3A3E0AF0C7B0}"/>
              </a:ext>
            </a:extLst>
          </p:cNvPr>
          <p:cNvCxnSpPr>
            <a:cxnSpLocks/>
          </p:cNvCxnSpPr>
          <p:nvPr/>
        </p:nvCxnSpPr>
        <p:spPr>
          <a:xfrm flipH="1" flipV="1">
            <a:off x="3145502" y="3111178"/>
            <a:ext cx="237402" cy="269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41102956-2348-4EBB-A6A2-4AD3CA6A4672}"/>
              </a:ext>
            </a:extLst>
          </p:cNvPr>
          <p:cNvCxnSpPr>
            <a:cxnSpLocks/>
          </p:cNvCxnSpPr>
          <p:nvPr/>
        </p:nvCxnSpPr>
        <p:spPr>
          <a:xfrm flipH="1">
            <a:off x="1316714" y="2464253"/>
            <a:ext cx="1211481" cy="278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6" name="Group 517">
            <a:extLst>
              <a:ext uri="{FF2B5EF4-FFF2-40B4-BE49-F238E27FC236}">
                <a16:creationId xmlns:a16="http://schemas.microsoft.com/office/drawing/2014/main" id="{C6CEFEBF-A62B-411E-B236-F7C98E14DFAB}"/>
              </a:ext>
            </a:extLst>
          </p:cNvPr>
          <p:cNvGrpSpPr/>
          <p:nvPr/>
        </p:nvGrpSpPr>
        <p:grpSpPr>
          <a:xfrm>
            <a:off x="1837611" y="1297673"/>
            <a:ext cx="1516920" cy="1921494"/>
            <a:chOff x="2367564" y="855095"/>
            <a:chExt cx="1303970" cy="1921494"/>
          </a:xfrm>
        </p:grpSpPr>
        <p:grpSp>
          <p:nvGrpSpPr>
            <p:cNvPr id="102" name="Group 537">
              <a:extLst>
                <a:ext uri="{FF2B5EF4-FFF2-40B4-BE49-F238E27FC236}">
                  <a16:creationId xmlns:a16="http://schemas.microsoft.com/office/drawing/2014/main" id="{2D334C67-D99F-4600-BB7C-EE3DDF8019A0}"/>
                </a:ext>
              </a:extLst>
            </p:cNvPr>
            <p:cNvGrpSpPr/>
            <p:nvPr/>
          </p:nvGrpSpPr>
          <p:grpSpPr>
            <a:xfrm>
              <a:off x="2589725" y="2285937"/>
              <a:ext cx="875308" cy="447272"/>
              <a:chOff x="3628572" y="1965277"/>
              <a:chExt cx="943428" cy="425449"/>
            </a:xfrm>
          </p:grpSpPr>
          <p:sp>
            <p:nvSpPr>
              <p:cNvPr id="111" name="Freeform 96">
                <a:extLst>
                  <a:ext uri="{FF2B5EF4-FFF2-40B4-BE49-F238E27FC236}">
                    <a16:creationId xmlns:a16="http://schemas.microsoft.com/office/drawing/2014/main" id="{3B061E96-D11C-45ED-B57A-16543E7255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4654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Freeform 96">
                <a:extLst>
                  <a:ext uri="{FF2B5EF4-FFF2-40B4-BE49-F238E27FC236}">
                    <a16:creationId xmlns:a16="http://schemas.microsoft.com/office/drawing/2014/main" id="{E0A57A69-B2FD-4F3A-8890-7829BEAB25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6761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Freeform 96">
                <a:extLst>
                  <a:ext uri="{FF2B5EF4-FFF2-40B4-BE49-F238E27FC236}">
                    <a16:creationId xmlns:a16="http://schemas.microsoft.com/office/drawing/2014/main" id="{03FA25FE-CD5A-4EAA-BC08-03838EC3C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8868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Freeform 96">
                <a:extLst>
                  <a:ext uri="{FF2B5EF4-FFF2-40B4-BE49-F238E27FC236}">
                    <a16:creationId xmlns:a16="http://schemas.microsoft.com/office/drawing/2014/main" id="{6B5DAAA7-9DF3-4AD1-B6EF-2D17F1C611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0975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Oval 594">
                <a:extLst>
                  <a:ext uri="{FF2B5EF4-FFF2-40B4-BE49-F238E27FC236}">
                    <a16:creationId xmlns:a16="http://schemas.microsoft.com/office/drawing/2014/main" id="{735A296A-9E9A-4D35-93E8-BCF472A3A501}"/>
                  </a:ext>
                </a:extLst>
              </p:cNvPr>
              <p:cNvSpPr/>
              <p:nvPr/>
            </p:nvSpPr>
            <p:spPr>
              <a:xfrm>
                <a:off x="3628572" y="1965277"/>
                <a:ext cx="943428" cy="425449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03" name="Rectangle 551">
              <a:extLst>
                <a:ext uri="{FF2B5EF4-FFF2-40B4-BE49-F238E27FC236}">
                  <a16:creationId xmlns:a16="http://schemas.microsoft.com/office/drawing/2014/main" id="{A17746B7-FD7F-4431-B009-DAA4BAF2C089}"/>
                </a:ext>
              </a:extLst>
            </p:cNvPr>
            <p:cNvSpPr/>
            <p:nvPr/>
          </p:nvSpPr>
          <p:spPr>
            <a:xfrm>
              <a:off x="2923503" y="2265883"/>
              <a:ext cx="230823" cy="3882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i-FI"/>
                <a:t> </a:t>
              </a:r>
            </a:p>
          </p:txBody>
        </p:sp>
        <p:sp>
          <p:nvSpPr>
            <p:cNvPr id="104" name="Oval 565">
              <a:extLst>
                <a:ext uri="{FF2B5EF4-FFF2-40B4-BE49-F238E27FC236}">
                  <a16:creationId xmlns:a16="http://schemas.microsoft.com/office/drawing/2014/main" id="{78B92F96-C832-4E18-9E7D-3D17663E9B88}"/>
                </a:ext>
              </a:extLst>
            </p:cNvPr>
            <p:cNvSpPr/>
            <p:nvPr/>
          </p:nvSpPr>
          <p:spPr>
            <a:xfrm>
              <a:off x="2498941" y="1748094"/>
              <a:ext cx="1172593" cy="102849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sz="800" b="1">
                <a:solidFill>
                  <a:schemeClr val="accent1"/>
                </a:solidFill>
              </a:endParaRPr>
            </a:p>
          </p:txBody>
        </p:sp>
        <p:pic>
          <p:nvPicPr>
            <p:cNvPr id="105" name="Graphic 104" descr="User">
              <a:extLst>
                <a:ext uri="{FF2B5EF4-FFF2-40B4-BE49-F238E27FC236}">
                  <a16:creationId xmlns:a16="http://schemas.microsoft.com/office/drawing/2014/main" id="{4F3D1B7A-F70F-4A8E-8260-4E15C7156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621797" y="1938493"/>
              <a:ext cx="329436" cy="373288"/>
            </a:xfrm>
            <a:prstGeom prst="rect">
              <a:avLst/>
            </a:prstGeom>
          </p:spPr>
        </p:pic>
        <p:pic>
          <p:nvPicPr>
            <p:cNvPr id="106" name="Graphic 105" descr="User">
              <a:extLst>
                <a:ext uri="{FF2B5EF4-FFF2-40B4-BE49-F238E27FC236}">
                  <a16:creationId xmlns:a16="http://schemas.microsoft.com/office/drawing/2014/main" id="{5BFEAC73-A616-491C-B2FC-F5F1048557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000028" y="2112918"/>
              <a:ext cx="329436" cy="373288"/>
            </a:xfrm>
            <a:prstGeom prst="rect">
              <a:avLst/>
            </a:prstGeom>
          </p:spPr>
        </p:pic>
        <p:pic>
          <p:nvPicPr>
            <p:cNvPr id="107" name="Graphic 106" descr="User">
              <a:extLst>
                <a:ext uri="{FF2B5EF4-FFF2-40B4-BE49-F238E27FC236}">
                  <a16:creationId xmlns:a16="http://schemas.microsoft.com/office/drawing/2014/main" id="{9EEA00F4-2621-49FA-ABC4-D5FF73DAA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256771" y="1913798"/>
              <a:ext cx="329436" cy="373288"/>
            </a:xfrm>
            <a:prstGeom prst="rect">
              <a:avLst/>
            </a:prstGeom>
          </p:spPr>
        </p:pic>
        <p:pic>
          <p:nvPicPr>
            <p:cNvPr id="108" name="Graphic 107" descr="User">
              <a:extLst>
                <a:ext uri="{FF2B5EF4-FFF2-40B4-BE49-F238E27FC236}">
                  <a16:creationId xmlns:a16="http://schemas.microsoft.com/office/drawing/2014/main" id="{03622AFF-B3F8-4F90-B49D-2149E96273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917101" y="1803355"/>
              <a:ext cx="329436" cy="373288"/>
            </a:xfrm>
            <a:prstGeom prst="rect">
              <a:avLst/>
            </a:prstGeom>
          </p:spPr>
        </p:pic>
        <p:pic>
          <p:nvPicPr>
            <p:cNvPr id="109" name="Graphic 108" descr="User">
              <a:extLst>
                <a:ext uri="{FF2B5EF4-FFF2-40B4-BE49-F238E27FC236}">
                  <a16:creationId xmlns:a16="http://schemas.microsoft.com/office/drawing/2014/main" id="{6D6F3564-E17C-4A7F-AE57-E1B5BB4BC7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2750650" y="2186670"/>
              <a:ext cx="329436" cy="373288"/>
            </a:xfrm>
            <a:prstGeom prst="rect">
              <a:avLst/>
            </a:prstGeom>
          </p:spPr>
        </p:pic>
        <p:sp>
          <p:nvSpPr>
            <p:cNvPr id="110" name="TextBox 589">
              <a:extLst>
                <a:ext uri="{FF2B5EF4-FFF2-40B4-BE49-F238E27FC236}">
                  <a16:creationId xmlns:a16="http://schemas.microsoft.com/office/drawing/2014/main" id="{B73699DF-1F79-4E97-9361-8C7209615B9F}"/>
                </a:ext>
              </a:extLst>
            </p:cNvPr>
            <p:cNvSpPr txBox="1"/>
            <p:nvPr/>
          </p:nvSpPr>
          <p:spPr>
            <a:xfrm>
              <a:off x="2367564" y="855095"/>
              <a:ext cx="86328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i-FI" sz="1200" b="1"/>
                <a:t>E2E</a:t>
              </a:r>
              <a:r>
                <a:rPr lang="et-EE" sz="1200" b="1"/>
                <a:t> </a:t>
              </a:r>
              <a:r>
                <a:rPr lang="et-EE" sz="1200" b="1" err="1"/>
                <a:t>Team</a:t>
              </a:r>
              <a:endParaRPr lang="fi-FI" sz="1200" b="1"/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AB75709-4667-48D8-8AC5-B5827E40A112}"/>
              </a:ext>
            </a:extLst>
          </p:cNvPr>
          <p:cNvGrpSpPr/>
          <p:nvPr/>
        </p:nvGrpSpPr>
        <p:grpSpPr>
          <a:xfrm>
            <a:off x="34462" y="2383285"/>
            <a:ext cx="1450718" cy="945561"/>
            <a:chOff x="2525995" y="825821"/>
            <a:chExt cx="1450718" cy="945561"/>
          </a:xfrm>
        </p:grpSpPr>
        <p:pic>
          <p:nvPicPr>
            <p:cNvPr id="118" name="Picture 117" descr="A person sitting on a bed&#10;&#10;Description generated with very high confidence">
              <a:extLst>
                <a:ext uri="{FF2B5EF4-FFF2-40B4-BE49-F238E27FC236}">
                  <a16:creationId xmlns:a16="http://schemas.microsoft.com/office/drawing/2014/main" id="{9482ED72-C4A5-4BCF-BA83-AD423B21B6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4254" t="10714" r="11174" b="7380"/>
            <a:stretch/>
          </p:blipFill>
          <p:spPr>
            <a:xfrm>
              <a:off x="2695507" y="825821"/>
              <a:ext cx="1112740" cy="718436"/>
            </a:xfrm>
            <a:prstGeom prst="ellipse">
              <a:avLst/>
            </a:prstGeom>
            <a:ln w="63500" cap="rnd">
              <a:solidFill>
                <a:schemeClr val="bg1">
                  <a:lumMod val="85000"/>
                </a:schemeClr>
              </a:solidFill>
            </a:ln>
            <a:effectLst/>
          </p:spPr>
        </p:pic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83521A5-2770-4A19-94D4-EF5009659AF1}"/>
                </a:ext>
              </a:extLst>
            </p:cNvPr>
            <p:cNvSpPr txBox="1"/>
            <p:nvPr/>
          </p:nvSpPr>
          <p:spPr>
            <a:xfrm>
              <a:off x="2525995" y="1586716"/>
              <a:ext cx="1450718" cy="18466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fi-FI" sz="1200" b="1" err="1"/>
                <a:t>Customer-centricity</a:t>
              </a:r>
              <a:endParaRPr lang="fi-FI" sz="1200" b="1"/>
            </a:p>
          </p:txBody>
        </p:sp>
      </p:grpSp>
      <p:sp>
        <p:nvSpPr>
          <p:cNvPr id="128" name="Rectangle 127">
            <a:extLst>
              <a:ext uri="{FF2B5EF4-FFF2-40B4-BE49-F238E27FC236}">
                <a16:creationId xmlns:a16="http://schemas.microsoft.com/office/drawing/2014/main" id="{A620A269-6F6C-411D-99DE-871D3020A793}"/>
              </a:ext>
            </a:extLst>
          </p:cNvPr>
          <p:cNvSpPr/>
          <p:nvPr/>
        </p:nvSpPr>
        <p:spPr>
          <a:xfrm>
            <a:off x="49473" y="1898334"/>
            <a:ext cx="1418174" cy="4057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fi-FI" sz="1000" b="1" err="1"/>
              <a:t>Customer</a:t>
            </a:r>
            <a:r>
              <a:rPr lang="fi-FI" sz="1000" b="1"/>
              <a:t> </a:t>
            </a:r>
            <a:r>
              <a:rPr lang="fi-FI" sz="1000" b="1" err="1"/>
              <a:t>need</a:t>
            </a:r>
            <a:r>
              <a:rPr lang="fi-FI" sz="1000" b="1"/>
              <a:t> is a </a:t>
            </a:r>
            <a:r>
              <a:rPr lang="fi-FI" sz="1000" b="1" err="1"/>
              <a:t>starting</a:t>
            </a:r>
            <a:r>
              <a:rPr lang="fi-FI" sz="1000" b="1"/>
              <a:t> </a:t>
            </a:r>
            <a:r>
              <a:rPr lang="fi-FI" sz="1000" b="1" err="1"/>
              <a:t>point</a:t>
            </a:r>
            <a:endParaRPr lang="en-US" sz="1000" b="1"/>
          </a:p>
        </p:txBody>
      </p:sp>
      <p:grpSp>
        <p:nvGrpSpPr>
          <p:cNvPr id="252" name="Group 616">
            <a:extLst>
              <a:ext uri="{FF2B5EF4-FFF2-40B4-BE49-F238E27FC236}">
                <a16:creationId xmlns:a16="http://schemas.microsoft.com/office/drawing/2014/main" id="{9313D9A9-95D3-49E9-8924-861E30EBBE74}"/>
              </a:ext>
            </a:extLst>
          </p:cNvPr>
          <p:cNvGrpSpPr/>
          <p:nvPr/>
        </p:nvGrpSpPr>
        <p:grpSpPr>
          <a:xfrm>
            <a:off x="7070897" y="1872902"/>
            <a:ext cx="1627645" cy="1734820"/>
            <a:chOff x="7041643" y="1670990"/>
            <a:chExt cx="1627645" cy="1734820"/>
          </a:xfrm>
        </p:grpSpPr>
        <p:sp>
          <p:nvSpPr>
            <p:cNvPr id="130" name="Rectangle 617">
              <a:extLst>
                <a:ext uri="{FF2B5EF4-FFF2-40B4-BE49-F238E27FC236}">
                  <a16:creationId xmlns:a16="http://schemas.microsoft.com/office/drawing/2014/main" id="{924553B9-589A-4DAC-8946-ABEF4512796C}"/>
                </a:ext>
              </a:extLst>
            </p:cNvPr>
            <p:cNvSpPr/>
            <p:nvPr/>
          </p:nvSpPr>
          <p:spPr>
            <a:xfrm>
              <a:off x="7394521" y="3128811"/>
              <a:ext cx="88517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fi-FI" sz="1200" b="1"/>
                <a:t>Company</a:t>
              </a:r>
            </a:p>
          </p:txBody>
        </p:sp>
        <p:sp>
          <p:nvSpPr>
            <p:cNvPr id="131" name="Rectangle: Rounded Corners 130">
              <a:extLst>
                <a:ext uri="{FF2B5EF4-FFF2-40B4-BE49-F238E27FC236}">
                  <a16:creationId xmlns:a16="http://schemas.microsoft.com/office/drawing/2014/main" id="{9C865F1A-ADF2-455E-AE02-B74F1029675E}"/>
                </a:ext>
              </a:extLst>
            </p:cNvPr>
            <p:cNvSpPr/>
            <p:nvPr/>
          </p:nvSpPr>
          <p:spPr>
            <a:xfrm>
              <a:off x="7041643" y="1670990"/>
              <a:ext cx="502270" cy="1327809"/>
            </a:xfrm>
            <a:prstGeom prst="roundRect">
              <a:avLst/>
            </a:prstGeom>
            <a:noFill/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  <p:sp>
          <p:nvSpPr>
            <p:cNvPr id="132" name="Rectangle: Rounded Corners 131">
              <a:extLst>
                <a:ext uri="{FF2B5EF4-FFF2-40B4-BE49-F238E27FC236}">
                  <a16:creationId xmlns:a16="http://schemas.microsoft.com/office/drawing/2014/main" id="{84AA1CDB-B433-4C67-9CD7-B1A692C41FC9}"/>
                </a:ext>
              </a:extLst>
            </p:cNvPr>
            <p:cNvSpPr/>
            <p:nvPr/>
          </p:nvSpPr>
          <p:spPr>
            <a:xfrm>
              <a:off x="7610529" y="1678590"/>
              <a:ext cx="502270" cy="1327809"/>
            </a:xfrm>
            <a:prstGeom prst="roundRect">
              <a:avLst/>
            </a:prstGeom>
            <a:noFill/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  <p:sp>
          <p:nvSpPr>
            <p:cNvPr id="133" name="Rectangle: Rounded Corners 132">
              <a:extLst>
                <a:ext uri="{FF2B5EF4-FFF2-40B4-BE49-F238E27FC236}">
                  <a16:creationId xmlns:a16="http://schemas.microsoft.com/office/drawing/2014/main" id="{AE53F7E8-D826-4E94-A1CB-FEB4900C00BD}"/>
                </a:ext>
              </a:extLst>
            </p:cNvPr>
            <p:cNvSpPr/>
            <p:nvPr/>
          </p:nvSpPr>
          <p:spPr>
            <a:xfrm>
              <a:off x="8167018" y="1679761"/>
              <a:ext cx="502270" cy="1327809"/>
            </a:xfrm>
            <a:prstGeom prst="roundRect">
              <a:avLst/>
            </a:prstGeom>
            <a:noFill/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  <p:grpSp>
          <p:nvGrpSpPr>
            <p:cNvPr id="134" name="Group 621">
              <a:extLst>
                <a:ext uri="{FF2B5EF4-FFF2-40B4-BE49-F238E27FC236}">
                  <a16:creationId xmlns:a16="http://schemas.microsoft.com/office/drawing/2014/main" id="{160D82D9-AD64-426C-9E6B-5D6DAFC458ED}"/>
                </a:ext>
              </a:extLst>
            </p:cNvPr>
            <p:cNvGrpSpPr/>
            <p:nvPr/>
          </p:nvGrpSpPr>
          <p:grpSpPr>
            <a:xfrm>
              <a:off x="7129386" y="2590994"/>
              <a:ext cx="223423" cy="142185"/>
              <a:chOff x="3628572" y="1965277"/>
              <a:chExt cx="943428" cy="425449"/>
            </a:xfrm>
          </p:grpSpPr>
          <p:sp>
            <p:nvSpPr>
              <p:cNvPr id="247" name="Freeform 96">
                <a:extLst>
                  <a:ext uri="{FF2B5EF4-FFF2-40B4-BE49-F238E27FC236}">
                    <a16:creationId xmlns:a16="http://schemas.microsoft.com/office/drawing/2014/main" id="{0A27D40D-E6FB-46C0-B685-622C589D0C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4654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Freeform 96">
                <a:extLst>
                  <a:ext uri="{FF2B5EF4-FFF2-40B4-BE49-F238E27FC236}">
                    <a16:creationId xmlns:a16="http://schemas.microsoft.com/office/drawing/2014/main" id="{7A5A2432-2394-4F3E-B056-270556D28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6761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Freeform 96">
                <a:extLst>
                  <a:ext uri="{FF2B5EF4-FFF2-40B4-BE49-F238E27FC236}">
                    <a16:creationId xmlns:a16="http://schemas.microsoft.com/office/drawing/2014/main" id="{094330BB-FC47-47A8-BEBF-52EBEFA2A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8868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Freeform 96">
                <a:extLst>
                  <a:ext uri="{FF2B5EF4-FFF2-40B4-BE49-F238E27FC236}">
                    <a16:creationId xmlns:a16="http://schemas.microsoft.com/office/drawing/2014/main" id="{0231823A-06FA-4694-8A7B-825DD4B320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0975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Oval 738">
                <a:extLst>
                  <a:ext uri="{FF2B5EF4-FFF2-40B4-BE49-F238E27FC236}">
                    <a16:creationId xmlns:a16="http://schemas.microsoft.com/office/drawing/2014/main" id="{8593DFDC-743F-4809-B4E1-AD043775E2CF}"/>
                  </a:ext>
                </a:extLst>
              </p:cNvPr>
              <p:cNvSpPr/>
              <p:nvPr/>
            </p:nvSpPr>
            <p:spPr>
              <a:xfrm>
                <a:off x="3628572" y="1965277"/>
                <a:ext cx="943428" cy="425449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35" name="TextBox 622">
              <a:extLst>
                <a:ext uri="{FF2B5EF4-FFF2-40B4-BE49-F238E27FC236}">
                  <a16:creationId xmlns:a16="http://schemas.microsoft.com/office/drawing/2014/main" id="{CAA8CD84-CBC6-41B8-B668-7755B0B7E066}"/>
                </a:ext>
              </a:extLst>
            </p:cNvPr>
            <p:cNvSpPr txBox="1"/>
            <p:nvPr/>
          </p:nvSpPr>
          <p:spPr>
            <a:xfrm>
              <a:off x="7172732" y="2728627"/>
              <a:ext cx="147835" cy="2483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fi-FI" sz="1200">
                <a:solidFill>
                  <a:schemeClr val="bg1"/>
                </a:solidFill>
              </a:endParaRPr>
            </a:p>
          </p:txBody>
        </p:sp>
        <p:sp>
          <p:nvSpPr>
            <p:cNvPr id="136" name="Rectangle 623">
              <a:extLst>
                <a:ext uri="{FF2B5EF4-FFF2-40B4-BE49-F238E27FC236}">
                  <a16:creationId xmlns:a16="http://schemas.microsoft.com/office/drawing/2014/main" id="{2C89A84F-F980-4D4D-B7DA-B981FCA6AF45}"/>
                </a:ext>
              </a:extLst>
            </p:cNvPr>
            <p:cNvSpPr/>
            <p:nvPr/>
          </p:nvSpPr>
          <p:spPr>
            <a:xfrm>
              <a:off x="7214586" y="2584619"/>
              <a:ext cx="58918" cy="1234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i-FI"/>
                <a:t> </a:t>
              </a:r>
            </a:p>
          </p:txBody>
        </p:sp>
        <p:sp>
          <p:nvSpPr>
            <p:cNvPr id="137" name="Oval 624">
              <a:extLst>
                <a:ext uri="{FF2B5EF4-FFF2-40B4-BE49-F238E27FC236}">
                  <a16:creationId xmlns:a16="http://schemas.microsoft.com/office/drawing/2014/main" id="{6673CC84-7A0D-4532-BA6A-3D7D56AA84F5}"/>
                </a:ext>
              </a:extLst>
            </p:cNvPr>
            <p:cNvSpPr/>
            <p:nvPr/>
          </p:nvSpPr>
          <p:spPr>
            <a:xfrm>
              <a:off x="7106216" y="2420017"/>
              <a:ext cx="299306" cy="32695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sz="800" b="1">
                <a:solidFill>
                  <a:schemeClr val="accent1"/>
                </a:solidFill>
              </a:endParaRPr>
            </a:p>
          </p:txBody>
        </p:sp>
        <p:pic>
          <p:nvPicPr>
            <p:cNvPr id="138" name="Graphic 137" descr="User">
              <a:extLst>
                <a:ext uri="{FF2B5EF4-FFF2-40B4-BE49-F238E27FC236}">
                  <a16:creationId xmlns:a16="http://schemas.microsoft.com/office/drawing/2014/main" id="{D40A188C-33A3-4463-B207-3ACDB503A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25595" y="2475438"/>
              <a:ext cx="60548" cy="85444"/>
            </a:xfrm>
            <a:prstGeom prst="rect">
              <a:avLst/>
            </a:prstGeom>
          </p:spPr>
        </p:pic>
        <p:pic>
          <p:nvPicPr>
            <p:cNvPr id="139" name="Graphic 138" descr="User">
              <a:extLst>
                <a:ext uri="{FF2B5EF4-FFF2-40B4-BE49-F238E27FC236}">
                  <a16:creationId xmlns:a16="http://schemas.microsoft.com/office/drawing/2014/main" id="{17423FD0-0B3C-4ACB-908E-5F03BC33EA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56724" y="2561893"/>
              <a:ext cx="60548" cy="85444"/>
            </a:xfrm>
            <a:prstGeom prst="rect">
              <a:avLst/>
            </a:prstGeom>
          </p:spPr>
        </p:pic>
        <p:pic>
          <p:nvPicPr>
            <p:cNvPr id="140" name="Graphic 139" descr="User">
              <a:extLst>
                <a:ext uri="{FF2B5EF4-FFF2-40B4-BE49-F238E27FC236}">
                  <a16:creationId xmlns:a16="http://schemas.microsoft.com/office/drawing/2014/main" id="{0453EA37-E99C-4A03-80FC-03A64FC573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322258" y="2498594"/>
              <a:ext cx="60548" cy="85444"/>
            </a:xfrm>
            <a:prstGeom prst="rect">
              <a:avLst/>
            </a:prstGeom>
          </p:spPr>
        </p:pic>
        <p:pic>
          <p:nvPicPr>
            <p:cNvPr id="141" name="Graphic 140" descr="User">
              <a:extLst>
                <a:ext uri="{FF2B5EF4-FFF2-40B4-BE49-F238E27FC236}">
                  <a16:creationId xmlns:a16="http://schemas.microsoft.com/office/drawing/2014/main" id="{1FC45D64-1C47-4C62-81AF-00D5F1494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153208" y="2498594"/>
              <a:ext cx="60548" cy="85444"/>
            </a:xfrm>
            <a:prstGeom prst="rect">
              <a:avLst/>
            </a:prstGeom>
          </p:spPr>
        </p:pic>
        <p:pic>
          <p:nvPicPr>
            <p:cNvPr id="142" name="Graphic 141" descr="User">
              <a:extLst>
                <a:ext uri="{FF2B5EF4-FFF2-40B4-BE49-F238E27FC236}">
                  <a16:creationId xmlns:a16="http://schemas.microsoft.com/office/drawing/2014/main" id="{E898C59F-5E18-40F8-81B2-8C95B3583F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7193070" y="2585339"/>
              <a:ext cx="60548" cy="85444"/>
            </a:xfrm>
            <a:prstGeom prst="rect">
              <a:avLst/>
            </a:prstGeom>
          </p:spPr>
        </p:pic>
        <p:grpSp>
          <p:nvGrpSpPr>
            <p:cNvPr id="143" name="Group 630">
              <a:extLst>
                <a:ext uri="{FF2B5EF4-FFF2-40B4-BE49-F238E27FC236}">
                  <a16:creationId xmlns:a16="http://schemas.microsoft.com/office/drawing/2014/main" id="{F1DE27D6-EFE7-42F9-974A-D4A43A9CA2EE}"/>
                </a:ext>
              </a:extLst>
            </p:cNvPr>
            <p:cNvGrpSpPr/>
            <p:nvPr/>
          </p:nvGrpSpPr>
          <p:grpSpPr>
            <a:xfrm>
              <a:off x="7190627" y="2209193"/>
              <a:ext cx="223423" cy="142185"/>
              <a:chOff x="3628572" y="1965277"/>
              <a:chExt cx="943428" cy="425449"/>
            </a:xfrm>
          </p:grpSpPr>
          <p:sp>
            <p:nvSpPr>
              <p:cNvPr id="242" name="Freeform 96">
                <a:extLst>
                  <a:ext uri="{FF2B5EF4-FFF2-40B4-BE49-F238E27FC236}">
                    <a16:creationId xmlns:a16="http://schemas.microsoft.com/office/drawing/2014/main" id="{B5C74E08-9935-4F84-AC4F-0369C0D8C5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4654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Freeform 96">
                <a:extLst>
                  <a:ext uri="{FF2B5EF4-FFF2-40B4-BE49-F238E27FC236}">
                    <a16:creationId xmlns:a16="http://schemas.microsoft.com/office/drawing/2014/main" id="{5438FBFA-4922-4972-B267-157B491E50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6761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Freeform 96">
                <a:extLst>
                  <a:ext uri="{FF2B5EF4-FFF2-40B4-BE49-F238E27FC236}">
                    <a16:creationId xmlns:a16="http://schemas.microsoft.com/office/drawing/2014/main" id="{ECBB1600-D0DE-40B5-B5E3-DD639A618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8868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Freeform 96">
                <a:extLst>
                  <a:ext uri="{FF2B5EF4-FFF2-40B4-BE49-F238E27FC236}">
                    <a16:creationId xmlns:a16="http://schemas.microsoft.com/office/drawing/2014/main" id="{5FCB7652-6656-4008-9ABD-FA1D035153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0975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Oval 733">
                <a:extLst>
                  <a:ext uri="{FF2B5EF4-FFF2-40B4-BE49-F238E27FC236}">
                    <a16:creationId xmlns:a16="http://schemas.microsoft.com/office/drawing/2014/main" id="{6196B9AD-FB42-4BAE-9544-D06788AB928B}"/>
                  </a:ext>
                </a:extLst>
              </p:cNvPr>
              <p:cNvSpPr/>
              <p:nvPr/>
            </p:nvSpPr>
            <p:spPr>
              <a:xfrm>
                <a:off x="3628572" y="1965277"/>
                <a:ext cx="943428" cy="425449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44" name="Rectangle 631">
              <a:extLst>
                <a:ext uri="{FF2B5EF4-FFF2-40B4-BE49-F238E27FC236}">
                  <a16:creationId xmlns:a16="http://schemas.microsoft.com/office/drawing/2014/main" id="{462C385B-2BDF-499A-95FE-5B8BCF3A9291}"/>
                </a:ext>
              </a:extLst>
            </p:cNvPr>
            <p:cNvSpPr/>
            <p:nvPr/>
          </p:nvSpPr>
          <p:spPr>
            <a:xfrm>
              <a:off x="7275827" y="2202819"/>
              <a:ext cx="58918" cy="1234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i-FI"/>
                <a:t> </a:t>
              </a:r>
            </a:p>
          </p:txBody>
        </p:sp>
        <p:sp>
          <p:nvSpPr>
            <p:cNvPr id="145" name="Oval 632">
              <a:extLst>
                <a:ext uri="{FF2B5EF4-FFF2-40B4-BE49-F238E27FC236}">
                  <a16:creationId xmlns:a16="http://schemas.microsoft.com/office/drawing/2014/main" id="{4FFFE965-A720-4E65-8266-09CA4366A489}"/>
                </a:ext>
              </a:extLst>
            </p:cNvPr>
            <p:cNvSpPr/>
            <p:nvPr/>
          </p:nvSpPr>
          <p:spPr>
            <a:xfrm>
              <a:off x="7167457" y="2038216"/>
              <a:ext cx="299306" cy="32695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sz="800" b="1">
                <a:solidFill>
                  <a:schemeClr val="accent1"/>
                </a:solidFill>
              </a:endParaRPr>
            </a:p>
          </p:txBody>
        </p:sp>
        <p:pic>
          <p:nvPicPr>
            <p:cNvPr id="146" name="Graphic 145" descr="User">
              <a:extLst>
                <a:ext uri="{FF2B5EF4-FFF2-40B4-BE49-F238E27FC236}">
                  <a16:creationId xmlns:a16="http://schemas.microsoft.com/office/drawing/2014/main" id="{5B114E86-C34C-4800-AAF9-720F3D28D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86836" y="2093637"/>
              <a:ext cx="60548" cy="85444"/>
            </a:xfrm>
            <a:prstGeom prst="rect">
              <a:avLst/>
            </a:prstGeom>
          </p:spPr>
        </p:pic>
        <p:pic>
          <p:nvPicPr>
            <p:cNvPr id="147" name="Graphic 146" descr="User">
              <a:extLst>
                <a:ext uri="{FF2B5EF4-FFF2-40B4-BE49-F238E27FC236}">
                  <a16:creationId xmlns:a16="http://schemas.microsoft.com/office/drawing/2014/main" id="{9397C4B6-022D-4394-90BD-5FA42F38D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317965" y="2180093"/>
              <a:ext cx="60548" cy="85444"/>
            </a:xfrm>
            <a:prstGeom prst="rect">
              <a:avLst/>
            </a:prstGeom>
          </p:spPr>
        </p:pic>
        <p:pic>
          <p:nvPicPr>
            <p:cNvPr id="148" name="Graphic 147" descr="User">
              <a:extLst>
                <a:ext uri="{FF2B5EF4-FFF2-40B4-BE49-F238E27FC236}">
                  <a16:creationId xmlns:a16="http://schemas.microsoft.com/office/drawing/2014/main" id="{D3D8F6BC-87C2-413E-AF04-5F07DC6045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383499" y="2116793"/>
              <a:ext cx="60548" cy="85444"/>
            </a:xfrm>
            <a:prstGeom prst="rect">
              <a:avLst/>
            </a:prstGeom>
          </p:spPr>
        </p:pic>
        <p:pic>
          <p:nvPicPr>
            <p:cNvPr id="149" name="Graphic 148" descr="User">
              <a:extLst>
                <a:ext uri="{FF2B5EF4-FFF2-40B4-BE49-F238E27FC236}">
                  <a16:creationId xmlns:a16="http://schemas.microsoft.com/office/drawing/2014/main" id="{A3E16943-D277-4494-9876-BAAC0A626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214449" y="2116793"/>
              <a:ext cx="60548" cy="85444"/>
            </a:xfrm>
            <a:prstGeom prst="rect">
              <a:avLst/>
            </a:prstGeom>
          </p:spPr>
        </p:pic>
        <p:pic>
          <p:nvPicPr>
            <p:cNvPr id="150" name="Graphic 149" descr="User">
              <a:extLst>
                <a:ext uri="{FF2B5EF4-FFF2-40B4-BE49-F238E27FC236}">
                  <a16:creationId xmlns:a16="http://schemas.microsoft.com/office/drawing/2014/main" id="{74767B98-FFD5-43DF-8484-F85808B1F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7254311" y="2203538"/>
              <a:ext cx="60548" cy="85444"/>
            </a:xfrm>
            <a:prstGeom prst="rect">
              <a:avLst/>
            </a:prstGeom>
          </p:spPr>
        </p:pic>
        <p:grpSp>
          <p:nvGrpSpPr>
            <p:cNvPr id="151" name="Group 638">
              <a:extLst>
                <a:ext uri="{FF2B5EF4-FFF2-40B4-BE49-F238E27FC236}">
                  <a16:creationId xmlns:a16="http://schemas.microsoft.com/office/drawing/2014/main" id="{0A293534-B129-41A6-87A0-B322960E15D7}"/>
                </a:ext>
              </a:extLst>
            </p:cNvPr>
            <p:cNvGrpSpPr/>
            <p:nvPr/>
          </p:nvGrpSpPr>
          <p:grpSpPr>
            <a:xfrm>
              <a:off x="7129386" y="2590994"/>
              <a:ext cx="223423" cy="142185"/>
              <a:chOff x="3628572" y="1965277"/>
              <a:chExt cx="943428" cy="425449"/>
            </a:xfrm>
          </p:grpSpPr>
          <p:sp>
            <p:nvSpPr>
              <p:cNvPr id="237" name="Freeform 96">
                <a:extLst>
                  <a:ext uri="{FF2B5EF4-FFF2-40B4-BE49-F238E27FC236}">
                    <a16:creationId xmlns:a16="http://schemas.microsoft.com/office/drawing/2014/main" id="{98D0ADE5-2194-46D4-9F05-238F015C59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4654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8" name="Freeform 96">
                <a:extLst>
                  <a:ext uri="{FF2B5EF4-FFF2-40B4-BE49-F238E27FC236}">
                    <a16:creationId xmlns:a16="http://schemas.microsoft.com/office/drawing/2014/main" id="{81EA14BF-E7BE-4C4A-89DD-0907CC82D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6761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Freeform 96">
                <a:extLst>
                  <a:ext uri="{FF2B5EF4-FFF2-40B4-BE49-F238E27FC236}">
                    <a16:creationId xmlns:a16="http://schemas.microsoft.com/office/drawing/2014/main" id="{E84B1C14-0899-4DF5-9E08-3B77043002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8868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" name="Freeform 96">
                <a:extLst>
                  <a:ext uri="{FF2B5EF4-FFF2-40B4-BE49-F238E27FC236}">
                    <a16:creationId xmlns:a16="http://schemas.microsoft.com/office/drawing/2014/main" id="{6DDF2CC9-FFF5-4668-8A0A-AE30C81A4E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0975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" name="Oval 728">
                <a:extLst>
                  <a:ext uri="{FF2B5EF4-FFF2-40B4-BE49-F238E27FC236}">
                    <a16:creationId xmlns:a16="http://schemas.microsoft.com/office/drawing/2014/main" id="{DD29985C-23DD-47B7-8349-CD4C54CE106F}"/>
                  </a:ext>
                </a:extLst>
              </p:cNvPr>
              <p:cNvSpPr/>
              <p:nvPr/>
            </p:nvSpPr>
            <p:spPr>
              <a:xfrm>
                <a:off x="3628572" y="1965277"/>
                <a:ext cx="943428" cy="425449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52" name="TextBox 639">
              <a:extLst>
                <a:ext uri="{FF2B5EF4-FFF2-40B4-BE49-F238E27FC236}">
                  <a16:creationId xmlns:a16="http://schemas.microsoft.com/office/drawing/2014/main" id="{AB258D12-DD2D-4DB6-8546-94286CED83D9}"/>
                </a:ext>
              </a:extLst>
            </p:cNvPr>
            <p:cNvSpPr txBox="1"/>
            <p:nvPr/>
          </p:nvSpPr>
          <p:spPr>
            <a:xfrm>
              <a:off x="7172732" y="2728627"/>
              <a:ext cx="147835" cy="2483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fi-FI" sz="1200">
                <a:solidFill>
                  <a:schemeClr val="bg1"/>
                </a:solidFill>
              </a:endParaRPr>
            </a:p>
          </p:txBody>
        </p:sp>
        <p:sp>
          <p:nvSpPr>
            <p:cNvPr id="153" name="Rectangle 640">
              <a:extLst>
                <a:ext uri="{FF2B5EF4-FFF2-40B4-BE49-F238E27FC236}">
                  <a16:creationId xmlns:a16="http://schemas.microsoft.com/office/drawing/2014/main" id="{1F15015E-7A11-4584-AF8E-FB6B2CDDA94C}"/>
                </a:ext>
              </a:extLst>
            </p:cNvPr>
            <p:cNvSpPr/>
            <p:nvPr/>
          </p:nvSpPr>
          <p:spPr>
            <a:xfrm>
              <a:off x="7214586" y="2584619"/>
              <a:ext cx="58918" cy="1234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i-FI"/>
                <a:t> </a:t>
              </a:r>
            </a:p>
          </p:txBody>
        </p:sp>
        <p:sp>
          <p:nvSpPr>
            <p:cNvPr id="154" name="Oval 641">
              <a:extLst>
                <a:ext uri="{FF2B5EF4-FFF2-40B4-BE49-F238E27FC236}">
                  <a16:creationId xmlns:a16="http://schemas.microsoft.com/office/drawing/2014/main" id="{E7B142F4-FFE4-4D7C-A60A-FE0A9E92F0E4}"/>
                </a:ext>
              </a:extLst>
            </p:cNvPr>
            <p:cNvSpPr/>
            <p:nvPr/>
          </p:nvSpPr>
          <p:spPr>
            <a:xfrm>
              <a:off x="7106216" y="2420017"/>
              <a:ext cx="299306" cy="32695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sz="800" b="1">
                <a:solidFill>
                  <a:schemeClr val="accent1"/>
                </a:solidFill>
              </a:endParaRPr>
            </a:p>
          </p:txBody>
        </p:sp>
        <p:pic>
          <p:nvPicPr>
            <p:cNvPr id="155" name="Graphic 154" descr="User">
              <a:extLst>
                <a:ext uri="{FF2B5EF4-FFF2-40B4-BE49-F238E27FC236}">
                  <a16:creationId xmlns:a16="http://schemas.microsoft.com/office/drawing/2014/main" id="{712CEE59-D179-4AA0-832A-A260B256E36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25595" y="2475438"/>
              <a:ext cx="60548" cy="85444"/>
            </a:xfrm>
            <a:prstGeom prst="rect">
              <a:avLst/>
            </a:prstGeom>
          </p:spPr>
        </p:pic>
        <p:pic>
          <p:nvPicPr>
            <p:cNvPr id="156" name="Graphic 155" descr="User">
              <a:extLst>
                <a:ext uri="{FF2B5EF4-FFF2-40B4-BE49-F238E27FC236}">
                  <a16:creationId xmlns:a16="http://schemas.microsoft.com/office/drawing/2014/main" id="{1151ED59-C59C-4789-AAC5-E34E9F67FD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56724" y="2561893"/>
              <a:ext cx="60548" cy="85444"/>
            </a:xfrm>
            <a:prstGeom prst="rect">
              <a:avLst/>
            </a:prstGeom>
          </p:spPr>
        </p:pic>
        <p:pic>
          <p:nvPicPr>
            <p:cNvPr id="157" name="Graphic 156" descr="User">
              <a:extLst>
                <a:ext uri="{FF2B5EF4-FFF2-40B4-BE49-F238E27FC236}">
                  <a16:creationId xmlns:a16="http://schemas.microsoft.com/office/drawing/2014/main" id="{E4BB39B5-14CA-448D-ACAE-BC6075D8A3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322258" y="2498594"/>
              <a:ext cx="60548" cy="85444"/>
            </a:xfrm>
            <a:prstGeom prst="rect">
              <a:avLst/>
            </a:prstGeom>
          </p:spPr>
        </p:pic>
        <p:pic>
          <p:nvPicPr>
            <p:cNvPr id="158" name="Graphic 157" descr="User">
              <a:extLst>
                <a:ext uri="{FF2B5EF4-FFF2-40B4-BE49-F238E27FC236}">
                  <a16:creationId xmlns:a16="http://schemas.microsoft.com/office/drawing/2014/main" id="{189F97FC-2FCE-4499-B6F7-739B5F76B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153208" y="2498594"/>
              <a:ext cx="60548" cy="85444"/>
            </a:xfrm>
            <a:prstGeom prst="rect">
              <a:avLst/>
            </a:prstGeom>
          </p:spPr>
        </p:pic>
        <p:pic>
          <p:nvPicPr>
            <p:cNvPr id="159" name="Graphic 158" descr="User">
              <a:extLst>
                <a:ext uri="{FF2B5EF4-FFF2-40B4-BE49-F238E27FC236}">
                  <a16:creationId xmlns:a16="http://schemas.microsoft.com/office/drawing/2014/main" id="{3FB36E94-0E62-4668-A078-0A935C8337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7193070" y="2585339"/>
              <a:ext cx="60548" cy="85444"/>
            </a:xfrm>
            <a:prstGeom prst="rect">
              <a:avLst/>
            </a:prstGeom>
          </p:spPr>
        </p:pic>
        <p:sp>
          <p:nvSpPr>
            <p:cNvPr id="160" name="TextBox 647">
              <a:extLst>
                <a:ext uri="{FF2B5EF4-FFF2-40B4-BE49-F238E27FC236}">
                  <a16:creationId xmlns:a16="http://schemas.microsoft.com/office/drawing/2014/main" id="{DE61BE66-7249-40F0-B985-22D970647FB4}"/>
                </a:ext>
              </a:extLst>
            </p:cNvPr>
            <p:cNvSpPr txBox="1"/>
            <p:nvPr/>
          </p:nvSpPr>
          <p:spPr>
            <a:xfrm>
              <a:off x="7759256" y="2880353"/>
              <a:ext cx="147835" cy="2483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fi-FI" sz="1200">
                <a:solidFill>
                  <a:schemeClr val="bg1"/>
                </a:solidFill>
              </a:endParaRPr>
            </a:p>
          </p:txBody>
        </p:sp>
        <p:grpSp>
          <p:nvGrpSpPr>
            <p:cNvPr id="161" name="Group 648">
              <a:extLst>
                <a:ext uri="{FF2B5EF4-FFF2-40B4-BE49-F238E27FC236}">
                  <a16:creationId xmlns:a16="http://schemas.microsoft.com/office/drawing/2014/main" id="{8311B54E-FC6F-4025-8970-95A62D08A543}"/>
                </a:ext>
              </a:extLst>
            </p:cNvPr>
            <p:cNvGrpSpPr/>
            <p:nvPr/>
          </p:nvGrpSpPr>
          <p:grpSpPr>
            <a:xfrm>
              <a:off x="7722371" y="2317799"/>
              <a:ext cx="223423" cy="142185"/>
              <a:chOff x="3628572" y="1965277"/>
              <a:chExt cx="943428" cy="425449"/>
            </a:xfrm>
          </p:grpSpPr>
          <p:sp>
            <p:nvSpPr>
              <p:cNvPr id="232" name="Freeform 96">
                <a:extLst>
                  <a:ext uri="{FF2B5EF4-FFF2-40B4-BE49-F238E27FC236}">
                    <a16:creationId xmlns:a16="http://schemas.microsoft.com/office/drawing/2014/main" id="{7E75B588-5C15-436E-A4AD-B81B32F960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4654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Freeform 96">
                <a:extLst>
                  <a:ext uri="{FF2B5EF4-FFF2-40B4-BE49-F238E27FC236}">
                    <a16:creationId xmlns:a16="http://schemas.microsoft.com/office/drawing/2014/main" id="{FAC9EC07-0FC4-492F-9AB0-CC4B9FC381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6761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4" name="Freeform 96">
                <a:extLst>
                  <a:ext uri="{FF2B5EF4-FFF2-40B4-BE49-F238E27FC236}">
                    <a16:creationId xmlns:a16="http://schemas.microsoft.com/office/drawing/2014/main" id="{C77510AD-B90E-4A89-8407-733C1C08F5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8868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5" name="Freeform 96">
                <a:extLst>
                  <a:ext uri="{FF2B5EF4-FFF2-40B4-BE49-F238E27FC236}">
                    <a16:creationId xmlns:a16="http://schemas.microsoft.com/office/drawing/2014/main" id="{2B64B2B2-4598-43F2-AD4F-8D05CFA57F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0975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Oval 723">
                <a:extLst>
                  <a:ext uri="{FF2B5EF4-FFF2-40B4-BE49-F238E27FC236}">
                    <a16:creationId xmlns:a16="http://schemas.microsoft.com/office/drawing/2014/main" id="{25770C05-EFD8-4974-A488-8CDE6FC4DDE4}"/>
                  </a:ext>
                </a:extLst>
              </p:cNvPr>
              <p:cNvSpPr/>
              <p:nvPr/>
            </p:nvSpPr>
            <p:spPr>
              <a:xfrm>
                <a:off x="3628572" y="1965277"/>
                <a:ext cx="943428" cy="425449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2" name="Group 649">
              <a:extLst>
                <a:ext uri="{FF2B5EF4-FFF2-40B4-BE49-F238E27FC236}">
                  <a16:creationId xmlns:a16="http://schemas.microsoft.com/office/drawing/2014/main" id="{CE207312-D4A5-407E-86B3-88AE78DDC0C2}"/>
                </a:ext>
              </a:extLst>
            </p:cNvPr>
            <p:cNvGrpSpPr/>
            <p:nvPr/>
          </p:nvGrpSpPr>
          <p:grpSpPr>
            <a:xfrm>
              <a:off x="7473016" y="2526620"/>
              <a:ext cx="223423" cy="142185"/>
              <a:chOff x="3628572" y="1965277"/>
              <a:chExt cx="943428" cy="425449"/>
            </a:xfrm>
          </p:grpSpPr>
          <p:sp>
            <p:nvSpPr>
              <p:cNvPr id="227" name="Freeform 96">
                <a:extLst>
                  <a:ext uri="{FF2B5EF4-FFF2-40B4-BE49-F238E27FC236}">
                    <a16:creationId xmlns:a16="http://schemas.microsoft.com/office/drawing/2014/main" id="{45E03827-F024-4D63-A68E-D7FBABC1C0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4654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8" name="Freeform 96">
                <a:extLst>
                  <a:ext uri="{FF2B5EF4-FFF2-40B4-BE49-F238E27FC236}">
                    <a16:creationId xmlns:a16="http://schemas.microsoft.com/office/drawing/2014/main" id="{D610BB8D-BF52-43D7-958B-5ED790F08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6761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9" name="Freeform 96">
                <a:extLst>
                  <a:ext uri="{FF2B5EF4-FFF2-40B4-BE49-F238E27FC236}">
                    <a16:creationId xmlns:a16="http://schemas.microsoft.com/office/drawing/2014/main" id="{38791AE3-3F46-4529-942F-7536BFDBF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8868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0" name="Freeform 96">
                <a:extLst>
                  <a:ext uri="{FF2B5EF4-FFF2-40B4-BE49-F238E27FC236}">
                    <a16:creationId xmlns:a16="http://schemas.microsoft.com/office/drawing/2014/main" id="{55669A23-E1F3-44EB-9196-FD61E04019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0975" y="2079394"/>
                <a:ext cx="202107" cy="194781"/>
              </a:xfrm>
              <a:custGeom>
                <a:avLst/>
                <a:gdLst>
                  <a:gd name="T0" fmla="*/ 78442719 w 602"/>
                  <a:gd name="T1" fmla="*/ 71923702 h 580"/>
                  <a:gd name="T2" fmla="*/ 78442719 w 602"/>
                  <a:gd name="T3" fmla="*/ 71923702 h 580"/>
                  <a:gd name="T4" fmla="*/ 78442719 w 602"/>
                  <a:gd name="T5" fmla="*/ 71923702 h 580"/>
                  <a:gd name="T6" fmla="*/ 74657633 w 602"/>
                  <a:gd name="T7" fmla="*/ 75578543 h 580"/>
                  <a:gd name="T8" fmla="*/ 3654665 w 602"/>
                  <a:gd name="T9" fmla="*/ 75578543 h 580"/>
                  <a:gd name="T10" fmla="*/ 0 w 602"/>
                  <a:gd name="T11" fmla="*/ 71923702 h 580"/>
                  <a:gd name="T12" fmla="*/ 0 w 602"/>
                  <a:gd name="T13" fmla="*/ 71923702 h 580"/>
                  <a:gd name="T14" fmla="*/ 0 w 602"/>
                  <a:gd name="T15" fmla="*/ 71923702 h 580"/>
                  <a:gd name="T16" fmla="*/ 10180751 w 602"/>
                  <a:gd name="T17" fmla="*/ 53518347 h 580"/>
                  <a:gd name="T18" fmla="*/ 21274806 w 602"/>
                  <a:gd name="T19" fmla="*/ 49733080 h 580"/>
                  <a:gd name="T20" fmla="*/ 30411109 w 602"/>
                  <a:gd name="T21" fmla="*/ 46077877 h 580"/>
                  <a:gd name="T22" fmla="*/ 30411109 w 602"/>
                  <a:gd name="T23" fmla="*/ 38637768 h 580"/>
                  <a:gd name="T24" fmla="*/ 26756804 w 602"/>
                  <a:gd name="T25" fmla="*/ 29500304 h 580"/>
                  <a:gd name="T26" fmla="*/ 24929472 w 602"/>
                  <a:gd name="T27" fmla="*/ 25845463 h 580"/>
                  <a:gd name="T28" fmla="*/ 25843138 w 602"/>
                  <a:gd name="T29" fmla="*/ 19318704 h 580"/>
                  <a:gd name="T30" fmla="*/ 24929472 w 602"/>
                  <a:gd name="T31" fmla="*/ 12009021 h 580"/>
                  <a:gd name="T32" fmla="*/ 39678193 w 602"/>
                  <a:gd name="T33" fmla="*/ 0 h 580"/>
                  <a:gd name="T34" fmla="*/ 53513248 w 602"/>
                  <a:gd name="T35" fmla="*/ 12009021 h 580"/>
                  <a:gd name="T36" fmla="*/ 52599581 w 602"/>
                  <a:gd name="T37" fmla="*/ 19318704 h 580"/>
                  <a:gd name="T38" fmla="*/ 54426914 w 602"/>
                  <a:gd name="T39" fmla="*/ 25845463 h 580"/>
                  <a:gd name="T40" fmla="*/ 51685915 w 602"/>
                  <a:gd name="T41" fmla="*/ 29500304 h 580"/>
                  <a:gd name="T42" fmla="*/ 48031249 w 602"/>
                  <a:gd name="T43" fmla="*/ 38637768 h 580"/>
                  <a:gd name="T44" fmla="*/ 48031249 w 602"/>
                  <a:gd name="T45" fmla="*/ 46077877 h 580"/>
                  <a:gd name="T46" fmla="*/ 57167913 w 602"/>
                  <a:gd name="T47" fmla="*/ 49733080 h 580"/>
                  <a:gd name="T48" fmla="*/ 69175635 w 602"/>
                  <a:gd name="T49" fmla="*/ 53518347 h 580"/>
                  <a:gd name="T50" fmla="*/ 78442719 w 602"/>
                  <a:gd name="T51" fmla="*/ 71923702 h 58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2" h="580">
                    <a:moveTo>
                      <a:pt x="601" y="551"/>
                    </a:moveTo>
                    <a:lnTo>
                      <a:pt x="601" y="551"/>
                    </a:lnTo>
                    <a:cubicBezTo>
                      <a:pt x="601" y="572"/>
                      <a:pt x="594" y="579"/>
                      <a:pt x="572" y="579"/>
                    </a:cubicBezTo>
                    <a:cubicBezTo>
                      <a:pt x="28" y="579"/>
                      <a:pt x="28" y="579"/>
                      <a:pt x="28" y="579"/>
                    </a:cubicBezTo>
                    <a:cubicBezTo>
                      <a:pt x="14" y="579"/>
                      <a:pt x="0" y="572"/>
                      <a:pt x="0" y="551"/>
                    </a:cubicBezTo>
                    <a:cubicBezTo>
                      <a:pt x="0" y="551"/>
                      <a:pt x="0" y="452"/>
                      <a:pt x="78" y="410"/>
                    </a:cubicBezTo>
                    <a:cubicBezTo>
                      <a:pt x="120" y="388"/>
                      <a:pt x="106" y="410"/>
                      <a:pt x="163" y="381"/>
                    </a:cubicBezTo>
                    <a:cubicBezTo>
                      <a:pt x="219" y="360"/>
                      <a:pt x="233" y="353"/>
                      <a:pt x="233" y="353"/>
                    </a:cubicBezTo>
                    <a:cubicBezTo>
                      <a:pt x="233" y="296"/>
                      <a:pt x="233" y="296"/>
                      <a:pt x="233" y="296"/>
                    </a:cubicBezTo>
                    <a:cubicBezTo>
                      <a:pt x="233" y="296"/>
                      <a:pt x="212" y="275"/>
                      <a:pt x="205" y="226"/>
                    </a:cubicBezTo>
                    <a:cubicBezTo>
                      <a:pt x="191" y="233"/>
                      <a:pt x="191" y="212"/>
                      <a:pt x="191" y="198"/>
                    </a:cubicBezTo>
                    <a:cubicBezTo>
                      <a:pt x="191" y="183"/>
                      <a:pt x="184" y="148"/>
                      <a:pt x="198" y="148"/>
                    </a:cubicBezTo>
                    <a:cubicBezTo>
                      <a:pt x="191" y="127"/>
                      <a:pt x="191" y="99"/>
                      <a:pt x="191" y="92"/>
                    </a:cubicBezTo>
                    <a:cubicBezTo>
                      <a:pt x="198" y="49"/>
                      <a:pt x="240" y="0"/>
                      <a:pt x="304" y="0"/>
                    </a:cubicBezTo>
                    <a:cubicBezTo>
                      <a:pt x="375" y="0"/>
                      <a:pt x="410" y="49"/>
                      <a:pt x="410" y="92"/>
                    </a:cubicBezTo>
                    <a:cubicBezTo>
                      <a:pt x="410" y="99"/>
                      <a:pt x="410" y="127"/>
                      <a:pt x="403" y="148"/>
                    </a:cubicBezTo>
                    <a:cubicBezTo>
                      <a:pt x="424" y="148"/>
                      <a:pt x="417" y="183"/>
                      <a:pt x="417" y="198"/>
                    </a:cubicBezTo>
                    <a:cubicBezTo>
                      <a:pt x="417" y="212"/>
                      <a:pt x="410" y="233"/>
                      <a:pt x="396" y="226"/>
                    </a:cubicBezTo>
                    <a:cubicBezTo>
                      <a:pt x="389" y="275"/>
                      <a:pt x="368" y="296"/>
                      <a:pt x="368" y="296"/>
                    </a:cubicBezTo>
                    <a:cubicBezTo>
                      <a:pt x="368" y="353"/>
                      <a:pt x="368" y="353"/>
                      <a:pt x="368" y="353"/>
                    </a:cubicBezTo>
                    <a:cubicBezTo>
                      <a:pt x="368" y="353"/>
                      <a:pt x="382" y="360"/>
                      <a:pt x="438" y="381"/>
                    </a:cubicBezTo>
                    <a:cubicBezTo>
                      <a:pt x="502" y="410"/>
                      <a:pt x="481" y="388"/>
                      <a:pt x="530" y="410"/>
                    </a:cubicBezTo>
                    <a:cubicBezTo>
                      <a:pt x="601" y="452"/>
                      <a:pt x="601" y="551"/>
                      <a:pt x="601" y="5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1" name="Oval 718">
                <a:extLst>
                  <a:ext uri="{FF2B5EF4-FFF2-40B4-BE49-F238E27FC236}">
                    <a16:creationId xmlns:a16="http://schemas.microsoft.com/office/drawing/2014/main" id="{5C886EF3-639B-44F0-A15A-94267A0C3987}"/>
                  </a:ext>
                </a:extLst>
              </p:cNvPr>
              <p:cNvSpPr/>
              <p:nvPr/>
            </p:nvSpPr>
            <p:spPr>
              <a:xfrm>
                <a:off x="3628572" y="1965277"/>
                <a:ext cx="943428" cy="425449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63" name="Oval 650">
              <a:extLst>
                <a:ext uri="{FF2B5EF4-FFF2-40B4-BE49-F238E27FC236}">
                  <a16:creationId xmlns:a16="http://schemas.microsoft.com/office/drawing/2014/main" id="{769F1D65-C08B-4EB7-9CFB-62FCCDC3F018}"/>
                </a:ext>
              </a:extLst>
            </p:cNvPr>
            <p:cNvSpPr/>
            <p:nvPr/>
          </p:nvSpPr>
          <p:spPr>
            <a:xfrm>
              <a:off x="7449846" y="2355643"/>
              <a:ext cx="299306" cy="32695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sz="800" b="1">
                <a:solidFill>
                  <a:schemeClr val="accent1"/>
                </a:solidFill>
              </a:endParaRPr>
            </a:p>
          </p:txBody>
        </p:sp>
        <p:pic>
          <p:nvPicPr>
            <p:cNvPr id="164" name="Graphic 163" descr="User">
              <a:extLst>
                <a:ext uri="{FF2B5EF4-FFF2-40B4-BE49-F238E27FC236}">
                  <a16:creationId xmlns:a16="http://schemas.microsoft.com/office/drawing/2014/main" id="{0B5EE7DF-739E-4CC7-84E8-6E3A70BC3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69225" y="2411064"/>
              <a:ext cx="60548" cy="85444"/>
            </a:xfrm>
            <a:prstGeom prst="rect">
              <a:avLst/>
            </a:prstGeom>
          </p:spPr>
        </p:pic>
        <p:pic>
          <p:nvPicPr>
            <p:cNvPr id="165" name="Graphic 164" descr="User">
              <a:extLst>
                <a:ext uri="{FF2B5EF4-FFF2-40B4-BE49-F238E27FC236}">
                  <a16:creationId xmlns:a16="http://schemas.microsoft.com/office/drawing/2014/main" id="{B070252B-1961-4219-B494-ED4953532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600354" y="2497520"/>
              <a:ext cx="60548" cy="85444"/>
            </a:xfrm>
            <a:prstGeom prst="rect">
              <a:avLst/>
            </a:prstGeom>
          </p:spPr>
        </p:pic>
        <p:pic>
          <p:nvPicPr>
            <p:cNvPr id="166" name="Graphic 165" descr="User">
              <a:extLst>
                <a:ext uri="{FF2B5EF4-FFF2-40B4-BE49-F238E27FC236}">
                  <a16:creationId xmlns:a16="http://schemas.microsoft.com/office/drawing/2014/main" id="{EFD72E70-4E9E-4B6D-9D9A-CFF6802C5E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665888" y="2434220"/>
              <a:ext cx="60548" cy="85444"/>
            </a:xfrm>
            <a:prstGeom prst="rect">
              <a:avLst/>
            </a:prstGeom>
          </p:spPr>
        </p:pic>
        <p:pic>
          <p:nvPicPr>
            <p:cNvPr id="167" name="Graphic 166" descr="User">
              <a:extLst>
                <a:ext uri="{FF2B5EF4-FFF2-40B4-BE49-F238E27FC236}">
                  <a16:creationId xmlns:a16="http://schemas.microsoft.com/office/drawing/2014/main" id="{169CE915-3715-415F-B621-DFBC05BC9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496838" y="2434220"/>
              <a:ext cx="60548" cy="85444"/>
            </a:xfrm>
            <a:prstGeom prst="rect">
              <a:avLst/>
            </a:prstGeom>
          </p:spPr>
        </p:pic>
        <p:pic>
          <p:nvPicPr>
            <p:cNvPr id="168" name="Graphic 167" descr="User">
              <a:extLst>
                <a:ext uri="{FF2B5EF4-FFF2-40B4-BE49-F238E27FC236}">
                  <a16:creationId xmlns:a16="http://schemas.microsoft.com/office/drawing/2014/main" id="{48620F12-C2BD-4569-A7EB-BF5A48019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7536700" y="2520965"/>
              <a:ext cx="60548" cy="85444"/>
            </a:xfrm>
            <a:prstGeom prst="rect">
              <a:avLst/>
            </a:prstGeom>
          </p:spPr>
        </p:pic>
        <p:grpSp>
          <p:nvGrpSpPr>
            <p:cNvPr id="169" name="Group 656">
              <a:extLst>
                <a:ext uri="{FF2B5EF4-FFF2-40B4-BE49-F238E27FC236}">
                  <a16:creationId xmlns:a16="http://schemas.microsoft.com/office/drawing/2014/main" id="{190CE749-30BA-4480-AE15-12F5138F1923}"/>
                </a:ext>
              </a:extLst>
            </p:cNvPr>
            <p:cNvGrpSpPr/>
            <p:nvPr/>
          </p:nvGrpSpPr>
          <p:grpSpPr>
            <a:xfrm>
              <a:off x="8281859" y="2547791"/>
              <a:ext cx="299306" cy="326953"/>
              <a:chOff x="8326762" y="2293214"/>
              <a:chExt cx="299306" cy="326953"/>
            </a:xfrm>
          </p:grpSpPr>
          <p:grpSp>
            <p:nvGrpSpPr>
              <p:cNvPr id="214" name="Group 701">
                <a:extLst>
                  <a:ext uri="{FF2B5EF4-FFF2-40B4-BE49-F238E27FC236}">
                    <a16:creationId xmlns:a16="http://schemas.microsoft.com/office/drawing/2014/main" id="{45C36533-31AA-4973-A89B-1A4AC8B53D14}"/>
                  </a:ext>
                </a:extLst>
              </p:cNvPr>
              <p:cNvGrpSpPr/>
              <p:nvPr/>
            </p:nvGrpSpPr>
            <p:grpSpPr>
              <a:xfrm>
                <a:off x="8349932" y="2464191"/>
                <a:ext cx="223423" cy="142185"/>
                <a:chOff x="3628572" y="1965277"/>
                <a:chExt cx="943428" cy="425449"/>
              </a:xfrm>
            </p:grpSpPr>
            <p:sp>
              <p:nvSpPr>
                <p:cNvPr id="222" name="Freeform 96">
                  <a:extLst>
                    <a:ext uri="{FF2B5EF4-FFF2-40B4-BE49-F238E27FC236}">
                      <a16:creationId xmlns:a16="http://schemas.microsoft.com/office/drawing/2014/main" id="{0F39E68E-9B67-4B6C-B4C1-9026DA7A7E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4654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 96">
                  <a:extLst>
                    <a:ext uri="{FF2B5EF4-FFF2-40B4-BE49-F238E27FC236}">
                      <a16:creationId xmlns:a16="http://schemas.microsoft.com/office/drawing/2014/main" id="{EA7722B4-503D-4851-8CD9-784812735C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86761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96">
                  <a:extLst>
                    <a:ext uri="{FF2B5EF4-FFF2-40B4-BE49-F238E27FC236}">
                      <a16:creationId xmlns:a16="http://schemas.microsoft.com/office/drawing/2014/main" id="{E5E49407-A175-46A5-9CC3-6D2DFD2524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88868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96">
                  <a:extLst>
                    <a:ext uri="{FF2B5EF4-FFF2-40B4-BE49-F238E27FC236}">
                      <a16:creationId xmlns:a16="http://schemas.microsoft.com/office/drawing/2014/main" id="{A555FC2C-854F-4F45-AF61-3AB203A320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90975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Oval 713">
                  <a:extLst>
                    <a:ext uri="{FF2B5EF4-FFF2-40B4-BE49-F238E27FC236}">
                      <a16:creationId xmlns:a16="http://schemas.microsoft.com/office/drawing/2014/main" id="{C1368919-794D-4E20-B506-FFA1D05C3D7C}"/>
                    </a:ext>
                  </a:extLst>
                </p:cNvPr>
                <p:cNvSpPr/>
                <p:nvPr/>
              </p:nvSpPr>
              <p:spPr>
                <a:xfrm>
                  <a:off x="3628572" y="1965277"/>
                  <a:ext cx="943428" cy="425449"/>
                </a:xfrm>
                <a:prstGeom prst="ellipse">
                  <a:avLst/>
                </a:prstGeom>
                <a:no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5" name="Rectangle 702">
                <a:extLst>
                  <a:ext uri="{FF2B5EF4-FFF2-40B4-BE49-F238E27FC236}">
                    <a16:creationId xmlns:a16="http://schemas.microsoft.com/office/drawing/2014/main" id="{283D794A-F724-42E1-AE43-AD27458CD93F}"/>
                  </a:ext>
                </a:extLst>
              </p:cNvPr>
              <p:cNvSpPr/>
              <p:nvPr/>
            </p:nvSpPr>
            <p:spPr>
              <a:xfrm>
                <a:off x="8435132" y="2457817"/>
                <a:ext cx="58918" cy="1234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fi-FI"/>
                  <a:t> </a:t>
                </a:r>
              </a:p>
            </p:txBody>
          </p:sp>
          <p:sp>
            <p:nvSpPr>
              <p:cNvPr id="216" name="Oval 703">
                <a:extLst>
                  <a:ext uri="{FF2B5EF4-FFF2-40B4-BE49-F238E27FC236}">
                    <a16:creationId xmlns:a16="http://schemas.microsoft.com/office/drawing/2014/main" id="{9FC3B2F7-E68A-4C45-A51F-92FA2A9A55E4}"/>
                  </a:ext>
                </a:extLst>
              </p:cNvPr>
              <p:cNvSpPr/>
              <p:nvPr/>
            </p:nvSpPr>
            <p:spPr>
              <a:xfrm>
                <a:off x="8326762" y="2293214"/>
                <a:ext cx="299306" cy="32695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i-FI" sz="800" b="1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217" name="Graphic 216" descr="User">
                <a:extLst>
                  <a:ext uri="{FF2B5EF4-FFF2-40B4-BE49-F238E27FC236}">
                    <a16:creationId xmlns:a16="http://schemas.microsoft.com/office/drawing/2014/main" id="{CB492DC6-B651-4566-AB67-DABB36AE57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46141" y="2348635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18" name="Graphic 217" descr="User">
                <a:extLst>
                  <a:ext uri="{FF2B5EF4-FFF2-40B4-BE49-F238E27FC236}">
                    <a16:creationId xmlns:a16="http://schemas.microsoft.com/office/drawing/2014/main" id="{1B444242-8034-43E7-A270-97654EAEBC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77270" y="2435091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19" name="Graphic 218" descr="User">
                <a:extLst>
                  <a:ext uri="{FF2B5EF4-FFF2-40B4-BE49-F238E27FC236}">
                    <a16:creationId xmlns:a16="http://schemas.microsoft.com/office/drawing/2014/main" id="{A92597DD-CB66-4508-AF0F-05F5053087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8542804" y="2371791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20" name="Graphic 219" descr="User">
                <a:extLst>
                  <a:ext uri="{FF2B5EF4-FFF2-40B4-BE49-F238E27FC236}">
                    <a16:creationId xmlns:a16="http://schemas.microsoft.com/office/drawing/2014/main" id="{55C72660-120F-4210-8303-48496D6161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8373754" y="2371791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21" name="Graphic 220" descr="User">
                <a:extLst>
                  <a:ext uri="{FF2B5EF4-FFF2-40B4-BE49-F238E27FC236}">
                    <a16:creationId xmlns:a16="http://schemas.microsoft.com/office/drawing/2014/main" id="{B5B589A8-665B-4A21-9F2E-3A250BC2D2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8413616" y="2458536"/>
                <a:ext cx="60548" cy="85444"/>
              </a:xfrm>
              <a:prstGeom prst="rect">
                <a:avLst/>
              </a:prstGeom>
            </p:spPr>
          </p:pic>
        </p:grpSp>
        <p:grpSp>
          <p:nvGrpSpPr>
            <p:cNvPr id="170" name="Group 657">
              <a:extLst>
                <a:ext uri="{FF2B5EF4-FFF2-40B4-BE49-F238E27FC236}">
                  <a16:creationId xmlns:a16="http://schemas.microsoft.com/office/drawing/2014/main" id="{4DD056F0-A8CD-4A28-AF4F-960E6FC933A7}"/>
                </a:ext>
              </a:extLst>
            </p:cNvPr>
            <p:cNvGrpSpPr/>
            <p:nvPr/>
          </p:nvGrpSpPr>
          <p:grpSpPr>
            <a:xfrm>
              <a:off x="7214372" y="1784009"/>
              <a:ext cx="501008" cy="152960"/>
              <a:chOff x="8311125" y="988579"/>
              <a:chExt cx="501008" cy="152960"/>
            </a:xfrm>
          </p:grpSpPr>
          <p:sp>
            <p:nvSpPr>
              <p:cNvPr id="208" name="Rectangle 695">
                <a:extLst>
                  <a:ext uri="{FF2B5EF4-FFF2-40B4-BE49-F238E27FC236}">
                    <a16:creationId xmlns:a16="http://schemas.microsoft.com/office/drawing/2014/main" id="{23CFBFD3-814A-4F5C-8E19-2375B37BEE91}"/>
                  </a:ext>
                </a:extLst>
              </p:cNvPr>
              <p:cNvSpPr/>
              <p:nvPr/>
            </p:nvSpPr>
            <p:spPr>
              <a:xfrm>
                <a:off x="8311125" y="988579"/>
                <a:ext cx="501008" cy="15296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t-EE" sz="800" b="1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209" name="Graphic 356" descr="User">
                <a:extLst>
                  <a:ext uri="{FF2B5EF4-FFF2-40B4-BE49-F238E27FC236}">
                    <a16:creationId xmlns:a16="http://schemas.microsoft.com/office/drawing/2014/main" id="{CD50311E-9093-4F6E-A05E-E291C1DCF9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627437" y="1019750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10" name="Graphic 357" descr="User">
                <a:extLst>
                  <a:ext uri="{FF2B5EF4-FFF2-40B4-BE49-F238E27FC236}">
                    <a16:creationId xmlns:a16="http://schemas.microsoft.com/office/drawing/2014/main" id="{0A1E7673-F8D8-475F-B669-3C7C423B95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710357" y="1019750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11" name="Graphic 356" descr="User">
                <a:extLst>
                  <a:ext uri="{FF2B5EF4-FFF2-40B4-BE49-F238E27FC236}">
                    <a16:creationId xmlns:a16="http://schemas.microsoft.com/office/drawing/2014/main" id="{29420B61-90BB-4E31-9A54-A4ACDE2459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61077" y="1019750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12" name="Graphic 357" descr="User">
                <a:extLst>
                  <a:ext uri="{FF2B5EF4-FFF2-40B4-BE49-F238E27FC236}">
                    <a16:creationId xmlns:a16="http://schemas.microsoft.com/office/drawing/2014/main" id="{4A59C2AF-602C-4744-AB97-8DD372E69F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543997" y="1019750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13" name="Graphic 359" descr="User">
                <a:extLst>
                  <a:ext uri="{FF2B5EF4-FFF2-40B4-BE49-F238E27FC236}">
                    <a16:creationId xmlns:a16="http://schemas.microsoft.com/office/drawing/2014/main" id="{69D22FCC-7816-4F09-BAD9-496F9035E8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8374501" y="1026005"/>
                <a:ext cx="60548" cy="85444"/>
              </a:xfrm>
              <a:prstGeom prst="rect">
                <a:avLst/>
              </a:prstGeom>
            </p:spPr>
          </p:pic>
        </p:grpSp>
        <p:grpSp>
          <p:nvGrpSpPr>
            <p:cNvPr id="171" name="Group 658">
              <a:extLst>
                <a:ext uri="{FF2B5EF4-FFF2-40B4-BE49-F238E27FC236}">
                  <a16:creationId xmlns:a16="http://schemas.microsoft.com/office/drawing/2014/main" id="{E3624B2C-F42F-4ACC-B057-86C10081321C}"/>
                </a:ext>
              </a:extLst>
            </p:cNvPr>
            <p:cNvGrpSpPr/>
            <p:nvPr/>
          </p:nvGrpSpPr>
          <p:grpSpPr>
            <a:xfrm>
              <a:off x="8237961" y="1762618"/>
              <a:ext cx="382274" cy="357374"/>
              <a:chOff x="7823039" y="897920"/>
              <a:chExt cx="382274" cy="357374"/>
            </a:xfrm>
          </p:grpSpPr>
          <p:sp>
            <p:nvSpPr>
              <p:cNvPr id="201" name="Isosceles Triangle 688">
                <a:extLst>
                  <a:ext uri="{FF2B5EF4-FFF2-40B4-BE49-F238E27FC236}">
                    <a16:creationId xmlns:a16="http://schemas.microsoft.com/office/drawing/2014/main" id="{D24B970C-5CD5-4F43-9917-604F42FC6CCC}"/>
                  </a:ext>
                </a:extLst>
              </p:cNvPr>
              <p:cNvSpPr/>
              <p:nvPr/>
            </p:nvSpPr>
            <p:spPr>
              <a:xfrm>
                <a:off x="7823039" y="897920"/>
                <a:ext cx="382274" cy="357374"/>
              </a:xfrm>
              <a:prstGeom prst="triangl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t-EE" sz="800" b="1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202" name="Graphic 356" descr="User">
                <a:extLst>
                  <a:ext uri="{FF2B5EF4-FFF2-40B4-BE49-F238E27FC236}">
                    <a16:creationId xmlns:a16="http://schemas.microsoft.com/office/drawing/2014/main" id="{B6D1A3F1-3E8D-4244-B390-DF4490440D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938560" y="1075675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03" name="Graphic 357" descr="User">
                <a:extLst>
                  <a:ext uri="{FF2B5EF4-FFF2-40B4-BE49-F238E27FC236}">
                    <a16:creationId xmlns:a16="http://schemas.microsoft.com/office/drawing/2014/main" id="{4BA5CD4C-CD19-47A1-82A9-72872C0312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021480" y="1075675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04" name="Graphic 359" descr="User">
                <a:extLst>
                  <a:ext uri="{FF2B5EF4-FFF2-40B4-BE49-F238E27FC236}">
                    <a16:creationId xmlns:a16="http://schemas.microsoft.com/office/drawing/2014/main" id="{D0FE7157-9D0E-450B-9179-8D8D05F1B5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7978428" y="980599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05" name="Graphic 358" descr="User">
                <a:extLst>
                  <a:ext uri="{FF2B5EF4-FFF2-40B4-BE49-F238E27FC236}">
                    <a16:creationId xmlns:a16="http://schemas.microsoft.com/office/drawing/2014/main" id="{C0F6D911-35DB-4630-BF18-60661806E4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910173" y="1153214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06" name="Graphic 358" descr="User">
                <a:extLst>
                  <a:ext uri="{FF2B5EF4-FFF2-40B4-BE49-F238E27FC236}">
                    <a16:creationId xmlns:a16="http://schemas.microsoft.com/office/drawing/2014/main" id="{2CADA962-7500-4C3C-B0B2-8C330FBC94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986316" y="1153292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07" name="Graphic 358" descr="User">
                <a:extLst>
                  <a:ext uri="{FF2B5EF4-FFF2-40B4-BE49-F238E27FC236}">
                    <a16:creationId xmlns:a16="http://schemas.microsoft.com/office/drawing/2014/main" id="{97BF6AE7-069F-4D5A-AAA9-924924901F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8059753" y="1154252"/>
                <a:ext cx="60548" cy="85444"/>
              </a:xfrm>
              <a:prstGeom prst="rect">
                <a:avLst/>
              </a:prstGeom>
            </p:spPr>
          </p:pic>
        </p:grpSp>
        <p:grpSp>
          <p:nvGrpSpPr>
            <p:cNvPr id="172" name="Group 659">
              <a:extLst>
                <a:ext uri="{FF2B5EF4-FFF2-40B4-BE49-F238E27FC236}">
                  <a16:creationId xmlns:a16="http://schemas.microsoft.com/office/drawing/2014/main" id="{B1AC33D2-168A-47CA-9FDF-30A0D748E53D}"/>
                </a:ext>
              </a:extLst>
            </p:cNvPr>
            <p:cNvGrpSpPr/>
            <p:nvPr/>
          </p:nvGrpSpPr>
          <p:grpSpPr>
            <a:xfrm>
              <a:off x="7680264" y="2564679"/>
              <a:ext cx="382274" cy="357374"/>
              <a:chOff x="7823039" y="897920"/>
              <a:chExt cx="382274" cy="357374"/>
            </a:xfrm>
          </p:grpSpPr>
          <p:sp>
            <p:nvSpPr>
              <p:cNvPr id="194" name="Isosceles Triangle 681">
                <a:extLst>
                  <a:ext uri="{FF2B5EF4-FFF2-40B4-BE49-F238E27FC236}">
                    <a16:creationId xmlns:a16="http://schemas.microsoft.com/office/drawing/2014/main" id="{E5078809-E2B5-43E5-9896-6137B4026B52}"/>
                  </a:ext>
                </a:extLst>
              </p:cNvPr>
              <p:cNvSpPr/>
              <p:nvPr/>
            </p:nvSpPr>
            <p:spPr>
              <a:xfrm>
                <a:off x="7823039" y="897920"/>
                <a:ext cx="382274" cy="357374"/>
              </a:xfrm>
              <a:prstGeom prst="triangl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t-EE" sz="800" b="1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195" name="Graphic 356" descr="User">
                <a:extLst>
                  <a:ext uri="{FF2B5EF4-FFF2-40B4-BE49-F238E27FC236}">
                    <a16:creationId xmlns:a16="http://schemas.microsoft.com/office/drawing/2014/main" id="{F7311E38-BD91-4957-B2B8-E895EEA4E9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938560" y="1075675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96" name="Graphic 357" descr="User">
                <a:extLst>
                  <a:ext uri="{FF2B5EF4-FFF2-40B4-BE49-F238E27FC236}">
                    <a16:creationId xmlns:a16="http://schemas.microsoft.com/office/drawing/2014/main" id="{071D671B-7A2D-4BBA-8AA9-001BFF16A0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021480" y="1075675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97" name="Graphic 359" descr="User">
                <a:extLst>
                  <a:ext uri="{FF2B5EF4-FFF2-40B4-BE49-F238E27FC236}">
                    <a16:creationId xmlns:a16="http://schemas.microsoft.com/office/drawing/2014/main" id="{F1E5C77D-B6EC-46FF-8733-9CA11F8139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7978428" y="980599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98" name="Graphic 358" descr="User">
                <a:extLst>
                  <a:ext uri="{FF2B5EF4-FFF2-40B4-BE49-F238E27FC236}">
                    <a16:creationId xmlns:a16="http://schemas.microsoft.com/office/drawing/2014/main" id="{C8C0500E-E405-4DA4-8018-F4ED0FF1F9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910173" y="1153214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99" name="Graphic 358" descr="User">
                <a:extLst>
                  <a:ext uri="{FF2B5EF4-FFF2-40B4-BE49-F238E27FC236}">
                    <a16:creationId xmlns:a16="http://schemas.microsoft.com/office/drawing/2014/main" id="{97759507-C94E-47CB-89B9-0D61B5AC2F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986316" y="1153292"/>
                <a:ext cx="60548" cy="85444"/>
              </a:xfrm>
              <a:prstGeom prst="rect">
                <a:avLst/>
              </a:prstGeom>
            </p:spPr>
          </p:pic>
          <p:pic>
            <p:nvPicPr>
              <p:cNvPr id="200" name="Graphic 358" descr="User">
                <a:extLst>
                  <a:ext uri="{FF2B5EF4-FFF2-40B4-BE49-F238E27FC236}">
                    <a16:creationId xmlns:a16="http://schemas.microsoft.com/office/drawing/2014/main" id="{E0B47243-DEC0-42EE-84E1-9AE7C00590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8059753" y="1154252"/>
                <a:ext cx="60548" cy="85444"/>
              </a:xfrm>
              <a:prstGeom prst="rect">
                <a:avLst/>
              </a:prstGeom>
            </p:spPr>
          </p:pic>
        </p:grpSp>
        <p:grpSp>
          <p:nvGrpSpPr>
            <p:cNvPr id="173" name="Group 660">
              <a:extLst>
                <a:ext uri="{FF2B5EF4-FFF2-40B4-BE49-F238E27FC236}">
                  <a16:creationId xmlns:a16="http://schemas.microsoft.com/office/drawing/2014/main" id="{EBC3F427-71D9-4925-87DF-A190070276BE}"/>
                </a:ext>
              </a:extLst>
            </p:cNvPr>
            <p:cNvGrpSpPr/>
            <p:nvPr/>
          </p:nvGrpSpPr>
          <p:grpSpPr>
            <a:xfrm>
              <a:off x="7876979" y="1760176"/>
              <a:ext cx="299306" cy="326953"/>
              <a:chOff x="8326762" y="2293214"/>
              <a:chExt cx="299306" cy="326953"/>
            </a:xfrm>
          </p:grpSpPr>
          <p:grpSp>
            <p:nvGrpSpPr>
              <p:cNvPr id="181" name="Group 668">
                <a:extLst>
                  <a:ext uri="{FF2B5EF4-FFF2-40B4-BE49-F238E27FC236}">
                    <a16:creationId xmlns:a16="http://schemas.microsoft.com/office/drawing/2014/main" id="{DECEB06F-12E2-46C2-99FA-A7F4842304D1}"/>
                  </a:ext>
                </a:extLst>
              </p:cNvPr>
              <p:cNvGrpSpPr/>
              <p:nvPr/>
            </p:nvGrpSpPr>
            <p:grpSpPr>
              <a:xfrm>
                <a:off x="8349932" y="2464191"/>
                <a:ext cx="223423" cy="142185"/>
                <a:chOff x="3628572" y="1965277"/>
                <a:chExt cx="943428" cy="425449"/>
              </a:xfrm>
            </p:grpSpPr>
            <p:sp>
              <p:nvSpPr>
                <p:cNvPr id="189" name="Freeform 96">
                  <a:extLst>
                    <a:ext uri="{FF2B5EF4-FFF2-40B4-BE49-F238E27FC236}">
                      <a16:creationId xmlns:a16="http://schemas.microsoft.com/office/drawing/2014/main" id="{647956B9-AC1B-439C-B648-317CA0ACF1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4654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96">
                  <a:extLst>
                    <a:ext uri="{FF2B5EF4-FFF2-40B4-BE49-F238E27FC236}">
                      <a16:creationId xmlns:a16="http://schemas.microsoft.com/office/drawing/2014/main" id="{3C48DA7A-495D-4F38-83A4-94D42B4EB1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86761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96">
                  <a:extLst>
                    <a:ext uri="{FF2B5EF4-FFF2-40B4-BE49-F238E27FC236}">
                      <a16:creationId xmlns:a16="http://schemas.microsoft.com/office/drawing/2014/main" id="{6C98F6CA-E890-443D-90B5-4F74487286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88868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96">
                  <a:extLst>
                    <a:ext uri="{FF2B5EF4-FFF2-40B4-BE49-F238E27FC236}">
                      <a16:creationId xmlns:a16="http://schemas.microsoft.com/office/drawing/2014/main" id="{72AB1FCE-58BC-4B94-84D5-BA4EA3C2CA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90975" y="2079394"/>
                  <a:ext cx="202107" cy="194781"/>
                </a:xfrm>
                <a:custGeom>
                  <a:avLst/>
                  <a:gdLst>
                    <a:gd name="T0" fmla="*/ 78442719 w 602"/>
                    <a:gd name="T1" fmla="*/ 71923702 h 580"/>
                    <a:gd name="T2" fmla="*/ 78442719 w 602"/>
                    <a:gd name="T3" fmla="*/ 71923702 h 580"/>
                    <a:gd name="T4" fmla="*/ 78442719 w 602"/>
                    <a:gd name="T5" fmla="*/ 71923702 h 580"/>
                    <a:gd name="T6" fmla="*/ 74657633 w 602"/>
                    <a:gd name="T7" fmla="*/ 75578543 h 580"/>
                    <a:gd name="T8" fmla="*/ 3654665 w 602"/>
                    <a:gd name="T9" fmla="*/ 75578543 h 580"/>
                    <a:gd name="T10" fmla="*/ 0 w 602"/>
                    <a:gd name="T11" fmla="*/ 71923702 h 580"/>
                    <a:gd name="T12" fmla="*/ 0 w 602"/>
                    <a:gd name="T13" fmla="*/ 71923702 h 580"/>
                    <a:gd name="T14" fmla="*/ 0 w 602"/>
                    <a:gd name="T15" fmla="*/ 71923702 h 580"/>
                    <a:gd name="T16" fmla="*/ 10180751 w 602"/>
                    <a:gd name="T17" fmla="*/ 53518347 h 580"/>
                    <a:gd name="T18" fmla="*/ 21274806 w 602"/>
                    <a:gd name="T19" fmla="*/ 49733080 h 580"/>
                    <a:gd name="T20" fmla="*/ 30411109 w 602"/>
                    <a:gd name="T21" fmla="*/ 46077877 h 580"/>
                    <a:gd name="T22" fmla="*/ 30411109 w 602"/>
                    <a:gd name="T23" fmla="*/ 38637768 h 580"/>
                    <a:gd name="T24" fmla="*/ 26756804 w 602"/>
                    <a:gd name="T25" fmla="*/ 29500304 h 580"/>
                    <a:gd name="T26" fmla="*/ 24929472 w 602"/>
                    <a:gd name="T27" fmla="*/ 25845463 h 580"/>
                    <a:gd name="T28" fmla="*/ 25843138 w 602"/>
                    <a:gd name="T29" fmla="*/ 19318704 h 580"/>
                    <a:gd name="T30" fmla="*/ 24929472 w 602"/>
                    <a:gd name="T31" fmla="*/ 12009021 h 580"/>
                    <a:gd name="T32" fmla="*/ 39678193 w 602"/>
                    <a:gd name="T33" fmla="*/ 0 h 580"/>
                    <a:gd name="T34" fmla="*/ 53513248 w 602"/>
                    <a:gd name="T35" fmla="*/ 12009021 h 580"/>
                    <a:gd name="T36" fmla="*/ 52599581 w 602"/>
                    <a:gd name="T37" fmla="*/ 19318704 h 580"/>
                    <a:gd name="T38" fmla="*/ 54426914 w 602"/>
                    <a:gd name="T39" fmla="*/ 25845463 h 580"/>
                    <a:gd name="T40" fmla="*/ 51685915 w 602"/>
                    <a:gd name="T41" fmla="*/ 29500304 h 580"/>
                    <a:gd name="T42" fmla="*/ 48031249 w 602"/>
                    <a:gd name="T43" fmla="*/ 38637768 h 580"/>
                    <a:gd name="T44" fmla="*/ 48031249 w 602"/>
                    <a:gd name="T45" fmla="*/ 46077877 h 580"/>
                    <a:gd name="T46" fmla="*/ 57167913 w 602"/>
                    <a:gd name="T47" fmla="*/ 49733080 h 580"/>
                    <a:gd name="T48" fmla="*/ 69175635 w 602"/>
                    <a:gd name="T49" fmla="*/ 53518347 h 580"/>
                    <a:gd name="T50" fmla="*/ 78442719 w 602"/>
                    <a:gd name="T51" fmla="*/ 71923702 h 58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2" h="580">
                      <a:moveTo>
                        <a:pt x="601" y="551"/>
                      </a:moveTo>
                      <a:lnTo>
                        <a:pt x="601" y="551"/>
                      </a:lnTo>
                      <a:cubicBezTo>
                        <a:pt x="601" y="572"/>
                        <a:pt x="594" y="579"/>
                        <a:pt x="572" y="579"/>
                      </a:cubicBezTo>
                      <a:cubicBezTo>
                        <a:pt x="28" y="579"/>
                        <a:pt x="28" y="579"/>
                        <a:pt x="28" y="579"/>
                      </a:cubicBezTo>
                      <a:cubicBezTo>
                        <a:pt x="14" y="579"/>
                        <a:pt x="0" y="572"/>
                        <a:pt x="0" y="551"/>
                      </a:cubicBezTo>
                      <a:cubicBezTo>
                        <a:pt x="0" y="551"/>
                        <a:pt x="0" y="452"/>
                        <a:pt x="78" y="410"/>
                      </a:cubicBezTo>
                      <a:cubicBezTo>
                        <a:pt x="120" y="388"/>
                        <a:pt x="106" y="410"/>
                        <a:pt x="163" y="381"/>
                      </a:cubicBezTo>
                      <a:cubicBezTo>
                        <a:pt x="219" y="360"/>
                        <a:pt x="233" y="353"/>
                        <a:pt x="233" y="353"/>
                      </a:cubicBezTo>
                      <a:cubicBezTo>
                        <a:pt x="233" y="296"/>
                        <a:pt x="233" y="296"/>
                        <a:pt x="233" y="296"/>
                      </a:cubicBezTo>
                      <a:cubicBezTo>
                        <a:pt x="233" y="296"/>
                        <a:pt x="212" y="275"/>
                        <a:pt x="205" y="226"/>
                      </a:cubicBezTo>
                      <a:cubicBezTo>
                        <a:pt x="191" y="233"/>
                        <a:pt x="191" y="212"/>
                        <a:pt x="191" y="198"/>
                      </a:cubicBezTo>
                      <a:cubicBezTo>
                        <a:pt x="191" y="183"/>
                        <a:pt x="184" y="148"/>
                        <a:pt x="198" y="148"/>
                      </a:cubicBezTo>
                      <a:cubicBezTo>
                        <a:pt x="191" y="127"/>
                        <a:pt x="191" y="99"/>
                        <a:pt x="191" y="92"/>
                      </a:cubicBezTo>
                      <a:cubicBezTo>
                        <a:pt x="198" y="49"/>
                        <a:pt x="240" y="0"/>
                        <a:pt x="304" y="0"/>
                      </a:cubicBezTo>
                      <a:cubicBezTo>
                        <a:pt x="375" y="0"/>
                        <a:pt x="410" y="49"/>
                        <a:pt x="410" y="92"/>
                      </a:cubicBezTo>
                      <a:cubicBezTo>
                        <a:pt x="410" y="99"/>
                        <a:pt x="410" y="127"/>
                        <a:pt x="403" y="148"/>
                      </a:cubicBezTo>
                      <a:cubicBezTo>
                        <a:pt x="424" y="148"/>
                        <a:pt x="417" y="183"/>
                        <a:pt x="417" y="198"/>
                      </a:cubicBezTo>
                      <a:cubicBezTo>
                        <a:pt x="417" y="212"/>
                        <a:pt x="410" y="233"/>
                        <a:pt x="396" y="226"/>
                      </a:cubicBezTo>
                      <a:cubicBezTo>
                        <a:pt x="389" y="275"/>
                        <a:pt x="368" y="296"/>
                        <a:pt x="368" y="296"/>
                      </a:cubicBezTo>
                      <a:cubicBezTo>
                        <a:pt x="368" y="353"/>
                        <a:pt x="368" y="353"/>
                        <a:pt x="368" y="353"/>
                      </a:cubicBezTo>
                      <a:cubicBezTo>
                        <a:pt x="368" y="353"/>
                        <a:pt x="382" y="360"/>
                        <a:pt x="438" y="381"/>
                      </a:cubicBezTo>
                      <a:cubicBezTo>
                        <a:pt x="502" y="410"/>
                        <a:pt x="481" y="388"/>
                        <a:pt x="530" y="410"/>
                      </a:cubicBezTo>
                      <a:cubicBezTo>
                        <a:pt x="601" y="452"/>
                        <a:pt x="601" y="551"/>
                        <a:pt x="601" y="551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Oval 680">
                  <a:extLst>
                    <a:ext uri="{FF2B5EF4-FFF2-40B4-BE49-F238E27FC236}">
                      <a16:creationId xmlns:a16="http://schemas.microsoft.com/office/drawing/2014/main" id="{01FAFAA8-2E12-484F-88CF-123E1D2BC167}"/>
                    </a:ext>
                  </a:extLst>
                </p:cNvPr>
                <p:cNvSpPr/>
                <p:nvPr/>
              </p:nvSpPr>
              <p:spPr>
                <a:xfrm>
                  <a:off x="3628572" y="1965277"/>
                  <a:ext cx="943428" cy="425449"/>
                </a:xfrm>
                <a:prstGeom prst="ellipse">
                  <a:avLst/>
                </a:prstGeom>
                <a:no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2" name="Rectangle 669">
                <a:extLst>
                  <a:ext uri="{FF2B5EF4-FFF2-40B4-BE49-F238E27FC236}">
                    <a16:creationId xmlns:a16="http://schemas.microsoft.com/office/drawing/2014/main" id="{12A9E7DD-A4D4-4575-8032-4C4B9674480A}"/>
                  </a:ext>
                </a:extLst>
              </p:cNvPr>
              <p:cNvSpPr/>
              <p:nvPr/>
            </p:nvSpPr>
            <p:spPr>
              <a:xfrm>
                <a:off x="8435132" y="2457817"/>
                <a:ext cx="58918" cy="1234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fi-FI"/>
                  <a:t> </a:t>
                </a:r>
              </a:p>
            </p:txBody>
          </p:sp>
          <p:sp>
            <p:nvSpPr>
              <p:cNvPr id="183" name="Oval 670">
                <a:extLst>
                  <a:ext uri="{FF2B5EF4-FFF2-40B4-BE49-F238E27FC236}">
                    <a16:creationId xmlns:a16="http://schemas.microsoft.com/office/drawing/2014/main" id="{483F20AE-354F-4BB8-A159-38D0231CDC0E}"/>
                  </a:ext>
                </a:extLst>
              </p:cNvPr>
              <p:cNvSpPr/>
              <p:nvPr/>
            </p:nvSpPr>
            <p:spPr>
              <a:xfrm>
                <a:off x="8326762" y="2293214"/>
                <a:ext cx="299306" cy="32695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i-FI" sz="800" b="1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184" name="Graphic 335" descr="User">
                <a:extLst>
                  <a:ext uri="{FF2B5EF4-FFF2-40B4-BE49-F238E27FC236}">
                    <a16:creationId xmlns:a16="http://schemas.microsoft.com/office/drawing/2014/main" id="{B90ACC8B-2B2A-456F-B512-2D6C74602C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46141" y="2348635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85" name="Graphic 336" descr="User">
                <a:extLst>
                  <a:ext uri="{FF2B5EF4-FFF2-40B4-BE49-F238E27FC236}">
                    <a16:creationId xmlns:a16="http://schemas.microsoft.com/office/drawing/2014/main" id="{C81C09A9-A531-44E9-B52C-E3226934B8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77270" y="2435091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86" name="Graphic 337" descr="User">
                <a:extLst>
                  <a:ext uri="{FF2B5EF4-FFF2-40B4-BE49-F238E27FC236}">
                    <a16:creationId xmlns:a16="http://schemas.microsoft.com/office/drawing/2014/main" id="{0B831830-79B8-4FB4-B4C6-1B6AAB317F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8542804" y="2371791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87" name="Graphic 338" descr="User">
                <a:extLst>
                  <a:ext uri="{FF2B5EF4-FFF2-40B4-BE49-F238E27FC236}">
                    <a16:creationId xmlns:a16="http://schemas.microsoft.com/office/drawing/2014/main" id="{EDFFCCA5-BE21-4DD2-BC02-67D1E4ED4E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8373754" y="2371791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88" name="Graphic 339" descr="User">
                <a:extLst>
                  <a:ext uri="{FF2B5EF4-FFF2-40B4-BE49-F238E27FC236}">
                    <a16:creationId xmlns:a16="http://schemas.microsoft.com/office/drawing/2014/main" id="{51C67674-8E01-40B7-9A29-53C0B87FA2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8413616" y="2458536"/>
                <a:ext cx="60548" cy="85444"/>
              </a:xfrm>
              <a:prstGeom prst="rect">
                <a:avLst/>
              </a:prstGeom>
            </p:spPr>
          </p:pic>
        </p:grpSp>
        <p:grpSp>
          <p:nvGrpSpPr>
            <p:cNvPr id="174" name="Group 661">
              <a:extLst>
                <a:ext uri="{FF2B5EF4-FFF2-40B4-BE49-F238E27FC236}">
                  <a16:creationId xmlns:a16="http://schemas.microsoft.com/office/drawing/2014/main" id="{650CA9AE-4E8A-4AC7-8ED8-DC189E35856D}"/>
                </a:ext>
              </a:extLst>
            </p:cNvPr>
            <p:cNvGrpSpPr/>
            <p:nvPr/>
          </p:nvGrpSpPr>
          <p:grpSpPr>
            <a:xfrm>
              <a:off x="7889178" y="2268178"/>
              <a:ext cx="501008" cy="152960"/>
              <a:chOff x="8311125" y="988579"/>
              <a:chExt cx="501008" cy="152960"/>
            </a:xfrm>
          </p:grpSpPr>
          <p:sp>
            <p:nvSpPr>
              <p:cNvPr id="175" name="Rectangle 662">
                <a:extLst>
                  <a:ext uri="{FF2B5EF4-FFF2-40B4-BE49-F238E27FC236}">
                    <a16:creationId xmlns:a16="http://schemas.microsoft.com/office/drawing/2014/main" id="{5084A6E2-FBAB-4AB2-9C82-AA5BD5059BB9}"/>
                  </a:ext>
                </a:extLst>
              </p:cNvPr>
              <p:cNvSpPr/>
              <p:nvPr/>
            </p:nvSpPr>
            <p:spPr>
              <a:xfrm>
                <a:off x="8311125" y="988579"/>
                <a:ext cx="501008" cy="15296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t-EE" sz="800" b="1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176" name="Graphic 356" descr="User">
                <a:extLst>
                  <a:ext uri="{FF2B5EF4-FFF2-40B4-BE49-F238E27FC236}">
                    <a16:creationId xmlns:a16="http://schemas.microsoft.com/office/drawing/2014/main" id="{537D972A-E026-4523-AB12-2704F76859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627437" y="1019750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77" name="Graphic 357" descr="User">
                <a:extLst>
                  <a:ext uri="{FF2B5EF4-FFF2-40B4-BE49-F238E27FC236}">
                    <a16:creationId xmlns:a16="http://schemas.microsoft.com/office/drawing/2014/main" id="{C41EFAA4-37CA-4DEA-B6A4-4B432882B6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710357" y="1019750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78" name="Graphic 356" descr="User">
                <a:extLst>
                  <a:ext uri="{FF2B5EF4-FFF2-40B4-BE49-F238E27FC236}">
                    <a16:creationId xmlns:a16="http://schemas.microsoft.com/office/drawing/2014/main" id="{567EFD29-45FE-49E5-9966-3DF635D938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461077" y="1019750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79" name="Graphic 357" descr="User">
                <a:extLst>
                  <a:ext uri="{FF2B5EF4-FFF2-40B4-BE49-F238E27FC236}">
                    <a16:creationId xmlns:a16="http://schemas.microsoft.com/office/drawing/2014/main" id="{866D3110-23AB-4EE1-969C-34CB5B01E7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543997" y="1019750"/>
                <a:ext cx="60548" cy="85444"/>
              </a:xfrm>
              <a:prstGeom prst="rect">
                <a:avLst/>
              </a:prstGeom>
            </p:spPr>
          </p:pic>
          <p:pic>
            <p:nvPicPr>
              <p:cNvPr id="180" name="Graphic 359" descr="User">
                <a:extLst>
                  <a:ext uri="{FF2B5EF4-FFF2-40B4-BE49-F238E27FC236}">
                    <a16:creationId xmlns:a16="http://schemas.microsoft.com/office/drawing/2014/main" id="{F9E72B16-6172-4B8A-B47F-E2F23555A4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8374501" y="1026005"/>
                <a:ext cx="60548" cy="85444"/>
              </a:xfrm>
              <a:prstGeom prst="rect">
                <a:avLst/>
              </a:prstGeom>
            </p:spPr>
          </p:pic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7BBAED83-1196-4F05-A4FA-C8A8AA539EF6}"/>
              </a:ext>
            </a:extLst>
          </p:cNvPr>
          <p:cNvSpPr txBox="1"/>
          <p:nvPr/>
        </p:nvSpPr>
        <p:spPr>
          <a:xfrm>
            <a:off x="6231753" y="3649446"/>
            <a:ext cx="2743200" cy="7386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cs typeface="Arial"/>
              </a:rPr>
              <a:t>Management communicates clearly the purpose and dire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640314D-B77E-4B44-9880-51732CBE24E1}"/>
              </a:ext>
            </a:extLst>
          </p:cNvPr>
          <p:cNvSpPr txBox="1"/>
          <p:nvPr/>
        </p:nvSpPr>
        <p:spPr>
          <a:xfrm>
            <a:off x="45651" y="1201264"/>
            <a:ext cx="3214301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cs typeface="Segoe UI"/>
              </a:rPr>
              <a:t>Rapid response with all the contextual information close to customer. ​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650281-D873-407D-964D-F9396C72C3D3}"/>
              </a:ext>
            </a:extLst>
          </p:cNvPr>
          <p:cNvSpPr txBox="1"/>
          <p:nvPr/>
        </p:nvSpPr>
        <p:spPr>
          <a:xfrm>
            <a:off x="802503" y="3494987"/>
            <a:ext cx="3507774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cs typeface="Segoe UI"/>
              </a:rPr>
              <a:t>Decisions about how to respond in the customer facing team much more ofte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983AB4-5B4E-4F97-8BB6-4925F8361798}"/>
              </a:ext>
            </a:extLst>
          </p:cNvPr>
          <p:cNvSpPr txBox="1"/>
          <p:nvPr/>
        </p:nvSpPr>
        <p:spPr>
          <a:xfrm>
            <a:off x="2347097" y="4684326"/>
            <a:ext cx="6627855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cs typeface="Segoe UI"/>
              </a:rPr>
              <a:t>Transparent operative information available to all in team of teams​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7681E9F-8219-4D99-A48F-F9808A7A6055}"/>
              </a:ext>
            </a:extLst>
          </p:cNvPr>
          <p:cNvSpPr txBox="1"/>
          <p:nvPr/>
        </p:nvSpPr>
        <p:spPr>
          <a:xfrm>
            <a:off x="3613665" y="1248704"/>
            <a:ext cx="5361287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cs typeface="Segoe UI"/>
              </a:rPr>
              <a:t>Alignment between teams concrete and rapid. Objectives built up from both directions​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3507269B-F49B-0143-90F8-7ACE6841464E}"/>
              </a:ext>
            </a:extLst>
          </p:cNvPr>
          <p:cNvSpPr txBox="1"/>
          <p:nvPr/>
        </p:nvSpPr>
        <p:spPr>
          <a:xfrm>
            <a:off x="0" y="-2395"/>
            <a:ext cx="217559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Scaling</a:t>
            </a:r>
            <a:r>
              <a:rPr lang="fi-FI" sz="1400" dirty="0"/>
              <a:t> to </a:t>
            </a:r>
            <a:r>
              <a:rPr lang="fi-FI" sz="1400" dirty="0" err="1"/>
              <a:t>multiple</a:t>
            </a:r>
            <a:r>
              <a:rPr lang="fi-FI" sz="1400" dirty="0"/>
              <a:t> </a:t>
            </a:r>
            <a:r>
              <a:rPr lang="fi-FI" sz="1400" dirty="0" err="1"/>
              <a:t>teams</a:t>
            </a:r>
            <a:endParaRPr lang="fi-FI" sz="1400" dirty="0"/>
          </a:p>
        </p:txBody>
      </p:sp>
    </p:spTree>
    <p:extLst>
      <p:ext uri="{BB962C8B-B14F-4D97-AF65-F5344CB8AC3E}">
        <p14:creationId xmlns:p14="http://schemas.microsoft.com/office/powerpoint/2010/main" val="3203871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E7F4D67-46AE-1846-8C59-9194E8B081A6}"/>
              </a:ext>
            </a:extLst>
          </p:cNvPr>
          <p:cNvSpPr txBox="1"/>
          <p:nvPr/>
        </p:nvSpPr>
        <p:spPr>
          <a:xfrm>
            <a:off x="53752" y="411510"/>
            <a:ext cx="9036496" cy="4524315"/>
          </a:xfrm>
          <a:prstGeom prst="rect">
            <a:avLst/>
          </a:prstGeom>
          <a:noFill/>
          <a:effectLst>
            <a:softEdge rad="127000"/>
          </a:effectLst>
        </p:spPr>
        <p:txBody>
          <a:bodyPr wrap="square" rtlCol="0">
            <a:spAutoFit/>
          </a:bodyPr>
          <a:lstStyle/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  <a:p>
            <a:endParaRPr lang="fi-FI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3F4BB8-8869-7943-8FBC-3565989439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2255375"/>
            <a:ext cx="4496486" cy="1336129"/>
          </a:xfrm>
          <a:solidFill>
            <a:schemeClr val="accent2">
              <a:lumMod val="20000"/>
              <a:lumOff val="80000"/>
            </a:schemeClr>
          </a:solidFill>
          <a:effectLst>
            <a:softEdge rad="127000"/>
          </a:effectLst>
        </p:spPr>
        <p:txBody>
          <a:bodyPr>
            <a:normAutofit/>
          </a:bodyPr>
          <a:lstStyle/>
          <a:p>
            <a:pPr marL="194388" indent="0">
              <a:buNone/>
            </a:pPr>
            <a:r>
              <a:rPr lang="en-US" sz="1500" b="1" dirty="0"/>
              <a:t>Short distance, few teams </a:t>
            </a:r>
          </a:p>
          <a:p>
            <a:pPr marL="480138" indent="-285750"/>
            <a:r>
              <a:rPr lang="en-US" sz="1400" dirty="0"/>
              <a:t>Kanban in the walls, system drawn in the walls, whiteboards, flipcharts</a:t>
            </a:r>
          </a:p>
          <a:p>
            <a:pPr marL="480138" indent="-285750"/>
            <a:r>
              <a:rPr lang="en-US" sz="1400" dirty="0" err="1"/>
              <a:t>Flowdock</a:t>
            </a:r>
            <a:r>
              <a:rPr lang="en-US" sz="1400" dirty="0"/>
              <a:t> / Slack / MS Teams chat, Radiators</a:t>
            </a:r>
          </a:p>
          <a:p>
            <a:pPr marL="0" indent="0">
              <a:buNone/>
            </a:pPr>
            <a:endParaRPr lang="fi-FI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976F146-A80B-2C4A-AFC3-34A2DFEFF54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27584" y="3591504"/>
            <a:ext cx="4509972" cy="1538884"/>
          </a:xfrm>
          <a:solidFill>
            <a:schemeClr val="accent2">
              <a:lumMod val="20000"/>
              <a:lumOff val="80000"/>
            </a:schemeClr>
          </a:solidFill>
          <a:effectLst>
            <a:softEdge rad="127000"/>
          </a:effectLst>
        </p:spPr>
        <p:txBody>
          <a:bodyPr anchor="t">
            <a:noAutofit/>
          </a:bodyPr>
          <a:lstStyle/>
          <a:p>
            <a:pPr marL="194388" indent="0">
              <a:buNone/>
            </a:pPr>
            <a:r>
              <a:rPr lang="en-US" sz="1400" b="1" dirty="0"/>
              <a:t>Long distance and/or many teams </a:t>
            </a:r>
          </a:p>
          <a:p>
            <a:pPr marL="480138" indent="-285750"/>
            <a:r>
              <a:rPr lang="en-US" sz="1400" dirty="0"/>
              <a:t>Shared easy tools</a:t>
            </a:r>
          </a:p>
          <a:p>
            <a:pPr marL="480138" indent="-285750"/>
            <a:r>
              <a:rPr lang="en-US" sz="1400" dirty="0" err="1"/>
              <a:t>Flowdock</a:t>
            </a:r>
            <a:r>
              <a:rPr lang="en-US" sz="1400" dirty="0"/>
              <a:t> / Slack / MS Teams, Radiators</a:t>
            </a:r>
          </a:p>
          <a:p>
            <a:pPr marL="480138" indent="-285750"/>
            <a:r>
              <a:rPr lang="en-US" sz="1400" dirty="0"/>
              <a:t>Confluence, Jira boards, </a:t>
            </a:r>
            <a:r>
              <a:rPr lang="en-US" sz="1400" dirty="0" err="1"/>
              <a:t>Gliffy</a:t>
            </a:r>
            <a:endParaRPr lang="en-US" sz="1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B52DFA-D4CB-3444-A3A7-9FB8585A1468}"/>
              </a:ext>
            </a:extLst>
          </p:cNvPr>
          <p:cNvSpPr/>
          <p:nvPr/>
        </p:nvSpPr>
        <p:spPr>
          <a:xfrm>
            <a:off x="157555" y="1056735"/>
            <a:ext cx="4496486" cy="11695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>
            <a:softEdge rad="127000"/>
          </a:effectLst>
        </p:spPr>
        <p:txBody>
          <a:bodyPr wrap="square">
            <a:spAutoFit/>
          </a:bodyPr>
          <a:lstStyle/>
          <a:p>
            <a:r>
              <a:rPr lang="en-US" sz="1400" b="1" dirty="0"/>
              <a:t>Single team (ide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O, PO, Scrum team (end to en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ame coffee mach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ame (open) spa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frequency, high bandwidth communic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7958E2-5153-6C45-B444-6B05B43D5E69}"/>
              </a:ext>
            </a:extLst>
          </p:cNvPr>
          <p:cNvSpPr/>
          <p:nvPr/>
        </p:nvSpPr>
        <p:spPr>
          <a:xfrm>
            <a:off x="5566573" y="1023497"/>
            <a:ext cx="3419872" cy="2769989"/>
          </a:xfrm>
          <a:prstGeom prst="rect">
            <a:avLst/>
          </a:prstGeom>
          <a:solidFill>
            <a:schemeClr val="accent2"/>
          </a:solidFill>
          <a:effectLst>
            <a:softEdge rad="127000"/>
          </a:effectLst>
        </p:spPr>
        <p:txBody>
          <a:bodyPr wrap="square">
            <a:spAutoFit/>
          </a:bodyPr>
          <a:lstStyle/>
          <a:p>
            <a:pPr indent="-12"/>
            <a:r>
              <a:rPr lang="en-US" sz="1400" b="1" dirty="0"/>
              <a:t>Common Ways of wo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Common</a:t>
            </a:r>
            <a:r>
              <a:rPr lang="fi-FI" sz="1400" dirty="0"/>
              <a:t> – </a:t>
            </a:r>
            <a:r>
              <a:rPr lang="fi-FI" sz="1400" dirty="0" err="1"/>
              <a:t>Concrete</a:t>
            </a:r>
            <a:r>
              <a:rPr lang="fi-FI" sz="1400" dirty="0"/>
              <a:t> – </a:t>
            </a:r>
            <a:r>
              <a:rPr lang="fi-FI" sz="1400" dirty="0" err="1"/>
              <a:t>Goals</a:t>
            </a:r>
            <a:endParaRPr lang="fi-FI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Common</a:t>
            </a:r>
            <a:r>
              <a:rPr lang="fi-FI" sz="1400" dirty="0"/>
              <a:t> </a:t>
            </a:r>
            <a:r>
              <a:rPr lang="fi-FI" sz="1400" dirty="0" err="1"/>
              <a:t>situational</a:t>
            </a:r>
            <a:r>
              <a:rPr lang="fi-FI" sz="1400" dirty="0"/>
              <a:t> </a:t>
            </a:r>
            <a:r>
              <a:rPr lang="fi-FI" sz="1400" dirty="0" err="1"/>
              <a:t>view</a:t>
            </a:r>
            <a:r>
              <a:rPr lang="fi-FI" sz="1400" dirty="0"/>
              <a:t> (</a:t>
            </a:r>
            <a:r>
              <a:rPr lang="fi-FI" sz="1400" dirty="0" err="1"/>
              <a:t>radiators</a:t>
            </a:r>
            <a:r>
              <a:rPr lang="fi-FI" sz="1400" dirty="0"/>
              <a:t>)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finition of d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m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I/CD/</a:t>
            </a:r>
            <a:r>
              <a:rPr lang="en-US" sz="1400" dirty="0" err="1"/>
              <a:t>DevOPS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 -&gt; Fast common builds, test &amp; ops automation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pendency handling…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Team chat, </a:t>
            </a:r>
            <a:r>
              <a:rPr lang="en-US" sz="1200" dirty="0" err="1"/>
              <a:t>devgrooming</a:t>
            </a:r>
            <a:r>
              <a:rPr lang="en-US" sz="1200" dirty="0"/>
              <a:t>, cross team ’gate’ meeting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APIs, “</a:t>
            </a:r>
            <a:r>
              <a:rPr lang="en-US" sz="1200" dirty="0" err="1"/>
              <a:t>Micro”services</a:t>
            </a:r>
            <a:r>
              <a:rPr lang="en-US" sz="1200" dirty="0"/>
              <a:t>, Static analyzer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18E171-A0FE-5E40-97C9-5570F08F2862}"/>
              </a:ext>
            </a:extLst>
          </p:cNvPr>
          <p:cNvSpPr/>
          <p:nvPr/>
        </p:nvSpPr>
        <p:spPr>
          <a:xfrm>
            <a:off x="83073" y="245260"/>
            <a:ext cx="79765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19AF"/>
                </a:solidFill>
                <a:latin typeface="+mj-lt"/>
                <a:ea typeface="+mj-ea"/>
                <a:cs typeface="Arial"/>
              </a:rPr>
              <a:t>Information and work needs to flow easy and fast. </a:t>
            </a:r>
          </a:p>
          <a:p>
            <a:r>
              <a:rPr lang="en-US" sz="2400" dirty="0">
                <a:solidFill>
                  <a:srgbClr val="0019AF"/>
                </a:solidFill>
                <a:latin typeface="+mj-lt"/>
                <a:ea typeface="+mj-ea"/>
                <a:cs typeface="Arial"/>
              </a:rPr>
              <a:t>Agree on enough common things</a:t>
            </a:r>
            <a:endParaRPr lang="fi-FI" sz="2400" dirty="0">
              <a:solidFill>
                <a:srgbClr val="0019AF"/>
              </a:solidFill>
              <a:latin typeface="+mj-lt"/>
              <a:ea typeface="+mj-ea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98F287-09BC-CF46-8F5E-F253B0E3F530}"/>
              </a:ext>
            </a:extLst>
          </p:cNvPr>
          <p:cNvSpPr txBox="1"/>
          <p:nvPr/>
        </p:nvSpPr>
        <p:spPr>
          <a:xfrm>
            <a:off x="0" y="-2395"/>
            <a:ext cx="217559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Scaling</a:t>
            </a:r>
            <a:r>
              <a:rPr lang="fi-FI" sz="1400" dirty="0"/>
              <a:t> to </a:t>
            </a:r>
            <a:r>
              <a:rPr lang="fi-FI" sz="1400" dirty="0" err="1"/>
              <a:t>multiple</a:t>
            </a:r>
            <a:r>
              <a:rPr lang="fi-FI" sz="1400" dirty="0"/>
              <a:t> </a:t>
            </a:r>
            <a:r>
              <a:rPr lang="fi-FI" sz="1400" dirty="0" err="1"/>
              <a:t>teams</a:t>
            </a:r>
            <a:endParaRPr lang="fi-FI" sz="1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55A37B-2B5C-B545-9DD1-0125A608FEDF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51621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01491-C7E3-7942-94DB-CA5C5FD201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2800" dirty="0" err="1"/>
              <a:t>Scale</a:t>
            </a:r>
            <a:r>
              <a:rPr lang="fi-FI" sz="2800" dirty="0"/>
              <a:t> </a:t>
            </a:r>
            <a:r>
              <a:rPr lang="fi-FI" sz="2800" dirty="0" err="1"/>
              <a:t>by</a:t>
            </a:r>
            <a:r>
              <a:rPr lang="fi-FI" sz="2800" dirty="0"/>
              <a:t> </a:t>
            </a:r>
            <a:r>
              <a:rPr lang="fi-FI" sz="2800" dirty="0" err="1"/>
              <a:t>enabling</a:t>
            </a:r>
            <a:r>
              <a:rPr lang="fi-FI" sz="2800" dirty="0"/>
              <a:t> </a:t>
            </a:r>
            <a:r>
              <a:rPr lang="fi-FI" sz="2800" dirty="0" err="1"/>
              <a:t>the</a:t>
            </a:r>
            <a:r>
              <a:rPr lang="fi-FI" sz="2800" dirty="0"/>
              <a:t> </a:t>
            </a:r>
            <a:r>
              <a:rPr lang="fi-FI" sz="2800" dirty="0" err="1"/>
              <a:t>teams</a:t>
            </a:r>
            <a:endParaRPr lang="fi-FI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83A8E1-8D97-CF45-9F3A-F4364DC674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800" y="1130400"/>
            <a:ext cx="4435224" cy="3775500"/>
          </a:xfrm>
        </p:spPr>
        <p:txBody>
          <a:bodyPr>
            <a:normAutofit/>
          </a:bodyPr>
          <a:lstStyle/>
          <a:p>
            <a:r>
              <a:rPr lang="fi-FI" sz="1500" dirty="0" err="1">
                <a:solidFill>
                  <a:schemeClr val="tx2"/>
                </a:solidFill>
              </a:rPr>
              <a:t>Aim</a:t>
            </a:r>
            <a:r>
              <a:rPr lang="fi-FI" sz="1500" dirty="0">
                <a:solidFill>
                  <a:schemeClr val="tx2"/>
                </a:solidFill>
              </a:rPr>
              <a:t> for E2E </a:t>
            </a:r>
            <a:r>
              <a:rPr lang="fi-FI" sz="1500" dirty="0" err="1">
                <a:solidFill>
                  <a:schemeClr val="tx2"/>
                </a:solidFill>
              </a:rPr>
              <a:t>self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organised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teams</a:t>
            </a:r>
            <a:endParaRPr lang="fi-FI" sz="1500" dirty="0">
              <a:solidFill>
                <a:schemeClr val="tx2"/>
              </a:solidFill>
            </a:endParaRPr>
          </a:p>
          <a:p>
            <a:pPr lvl="1"/>
            <a:r>
              <a:rPr lang="fi-FI" sz="1200" dirty="0">
                <a:solidFill>
                  <a:schemeClr val="tx2"/>
                </a:solidFill>
              </a:rPr>
              <a:t>No ”</a:t>
            </a:r>
            <a:r>
              <a:rPr lang="fi-FI" sz="1200" dirty="0" err="1">
                <a:solidFill>
                  <a:schemeClr val="tx2"/>
                </a:solidFill>
              </a:rPr>
              <a:t>helper</a:t>
            </a:r>
            <a:r>
              <a:rPr lang="fi-FI" sz="1200" dirty="0">
                <a:solidFill>
                  <a:schemeClr val="tx2"/>
                </a:solidFill>
              </a:rPr>
              <a:t>” / </a:t>
            </a:r>
            <a:r>
              <a:rPr lang="fi-FI" sz="1200" dirty="0" err="1">
                <a:solidFill>
                  <a:schemeClr val="tx2"/>
                </a:solidFill>
              </a:rPr>
              <a:t>functional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teams</a:t>
            </a:r>
            <a:r>
              <a:rPr lang="fi-FI" sz="1200" dirty="0">
                <a:solidFill>
                  <a:schemeClr val="tx2"/>
                </a:solidFill>
              </a:rPr>
              <a:t> (</a:t>
            </a:r>
            <a:r>
              <a:rPr lang="fi-FI" sz="1200" dirty="0" err="1">
                <a:solidFill>
                  <a:schemeClr val="tx2"/>
                </a:solidFill>
              </a:rPr>
              <a:t>eg</a:t>
            </a:r>
            <a:r>
              <a:rPr lang="fi-FI" sz="1200" dirty="0">
                <a:solidFill>
                  <a:schemeClr val="tx2"/>
                </a:solidFill>
              </a:rPr>
              <a:t> ”</a:t>
            </a:r>
            <a:r>
              <a:rPr lang="fi-FI" sz="1200" dirty="0" err="1">
                <a:solidFill>
                  <a:schemeClr val="tx2"/>
                </a:solidFill>
              </a:rPr>
              <a:t>testing</a:t>
            </a:r>
            <a:r>
              <a:rPr lang="fi-FI" sz="1200" dirty="0">
                <a:solidFill>
                  <a:schemeClr val="tx2"/>
                </a:solidFill>
              </a:rPr>
              <a:t>”)</a:t>
            </a:r>
          </a:p>
          <a:p>
            <a:pPr lvl="1"/>
            <a:r>
              <a:rPr lang="fi-FI" sz="1200" dirty="0" err="1">
                <a:solidFill>
                  <a:schemeClr val="tx2"/>
                </a:solidFill>
              </a:rPr>
              <a:t>Grow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b="1" dirty="0" err="1">
                <a:solidFill>
                  <a:schemeClr val="tx2"/>
                </a:solidFill>
              </a:rPr>
              <a:t>all</a:t>
            </a:r>
            <a:r>
              <a:rPr lang="fi-FI" sz="1200" b="1" dirty="0">
                <a:solidFill>
                  <a:schemeClr val="tx2"/>
                </a:solidFill>
              </a:rPr>
              <a:t> </a:t>
            </a:r>
            <a:r>
              <a:rPr lang="fi-FI" sz="1200" b="1" dirty="0" err="1">
                <a:solidFill>
                  <a:schemeClr val="tx2"/>
                </a:solidFill>
              </a:rPr>
              <a:t>the</a:t>
            </a:r>
            <a:r>
              <a:rPr lang="fi-FI" sz="1200" b="1" dirty="0">
                <a:solidFill>
                  <a:schemeClr val="tx2"/>
                </a:solidFill>
              </a:rPr>
              <a:t> </a:t>
            </a:r>
            <a:r>
              <a:rPr lang="fi-FI" sz="1200" b="1" dirty="0" err="1">
                <a:solidFill>
                  <a:schemeClr val="tx2"/>
                </a:solidFill>
              </a:rPr>
              <a:t>teams</a:t>
            </a:r>
            <a:r>
              <a:rPr lang="fi-FI" sz="1200" b="1" dirty="0">
                <a:solidFill>
                  <a:schemeClr val="tx2"/>
                </a:solidFill>
              </a:rPr>
              <a:t> to </a:t>
            </a:r>
            <a:r>
              <a:rPr lang="fi-FI" sz="1200" b="1" dirty="0" err="1">
                <a:solidFill>
                  <a:schemeClr val="tx2"/>
                </a:solidFill>
              </a:rPr>
              <a:t>be</a:t>
            </a:r>
            <a:r>
              <a:rPr lang="fi-FI" sz="1200" b="1" dirty="0">
                <a:solidFill>
                  <a:schemeClr val="tx2"/>
                </a:solidFill>
              </a:rPr>
              <a:t> </a:t>
            </a:r>
            <a:r>
              <a:rPr lang="fi-FI" sz="1200" b="1" dirty="0" err="1">
                <a:solidFill>
                  <a:schemeClr val="tx2"/>
                </a:solidFill>
              </a:rPr>
              <a:t>first</a:t>
            </a:r>
            <a:r>
              <a:rPr lang="fi-FI" sz="1200" b="1" dirty="0">
                <a:solidFill>
                  <a:schemeClr val="tx2"/>
                </a:solidFill>
              </a:rPr>
              <a:t> </a:t>
            </a:r>
            <a:r>
              <a:rPr lang="fi-FI" sz="1200" b="1" dirty="0" err="1">
                <a:solidFill>
                  <a:schemeClr val="tx2"/>
                </a:solidFill>
              </a:rPr>
              <a:t>class</a:t>
            </a:r>
            <a:r>
              <a:rPr lang="fi-FI" sz="1200" b="1" dirty="0">
                <a:solidFill>
                  <a:schemeClr val="tx2"/>
                </a:solidFill>
              </a:rPr>
              <a:t> </a:t>
            </a:r>
            <a:r>
              <a:rPr lang="fi-FI" sz="1200" b="1" dirty="0" err="1">
                <a:solidFill>
                  <a:schemeClr val="tx2"/>
                </a:solidFill>
              </a:rPr>
              <a:t>citizens</a:t>
            </a:r>
            <a:r>
              <a:rPr lang="fi-FI" sz="1200" b="1" dirty="0">
                <a:solidFill>
                  <a:schemeClr val="tx2"/>
                </a:solidFill>
              </a:rPr>
              <a:t> </a:t>
            </a:r>
            <a:r>
              <a:rPr lang="fi-FI" sz="1200" dirty="0">
                <a:solidFill>
                  <a:schemeClr val="tx2"/>
                </a:solidFill>
              </a:rPr>
              <a:t>on </a:t>
            </a:r>
            <a:r>
              <a:rPr lang="fi-FI" sz="1200" dirty="0" err="1">
                <a:solidFill>
                  <a:schemeClr val="tx2"/>
                </a:solidFill>
              </a:rPr>
              <a:t>their</a:t>
            </a:r>
            <a:r>
              <a:rPr lang="fi-FI" sz="1200" dirty="0">
                <a:solidFill>
                  <a:schemeClr val="tx2"/>
                </a:solidFill>
              </a:rPr>
              <a:t> domain and </a:t>
            </a:r>
            <a:r>
              <a:rPr lang="fi-FI" sz="1200" dirty="0" err="1">
                <a:solidFill>
                  <a:schemeClr val="tx2"/>
                </a:solidFill>
              </a:rPr>
              <a:t>eventually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overall</a:t>
            </a:r>
            <a:endParaRPr lang="fi-FI" sz="1200" dirty="0">
              <a:solidFill>
                <a:schemeClr val="tx2"/>
              </a:solidFill>
            </a:endParaRPr>
          </a:p>
          <a:p>
            <a:pPr lvl="1"/>
            <a:r>
              <a:rPr lang="fi-FI" sz="1200" dirty="0" err="1">
                <a:solidFill>
                  <a:schemeClr val="tx2"/>
                </a:solidFill>
              </a:rPr>
              <a:t>Build</a:t>
            </a:r>
            <a:r>
              <a:rPr lang="fi-FI" sz="1200" dirty="0">
                <a:solidFill>
                  <a:schemeClr val="tx2"/>
                </a:solidFill>
              </a:rPr>
              <a:t> and </a:t>
            </a:r>
            <a:r>
              <a:rPr lang="fi-FI" sz="1200" dirty="0" err="1">
                <a:solidFill>
                  <a:schemeClr val="tx2"/>
                </a:solidFill>
              </a:rPr>
              <a:t>grow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the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structure</a:t>
            </a:r>
            <a:r>
              <a:rPr lang="fi-FI" sz="1200" dirty="0">
                <a:solidFill>
                  <a:schemeClr val="tx2"/>
                </a:solidFill>
              </a:rPr>
              <a:t> of </a:t>
            </a:r>
            <a:r>
              <a:rPr lang="fi-FI" sz="1200" dirty="0" err="1">
                <a:solidFill>
                  <a:schemeClr val="tx2"/>
                </a:solidFill>
              </a:rPr>
              <a:t>the</a:t>
            </a:r>
            <a:r>
              <a:rPr lang="fi-FI" sz="1200" dirty="0">
                <a:solidFill>
                  <a:schemeClr val="tx2"/>
                </a:solidFill>
              </a:rPr>
              <a:t> team for </a:t>
            </a:r>
            <a:r>
              <a:rPr lang="fi-FI" sz="1200" dirty="0" err="1">
                <a:solidFill>
                  <a:schemeClr val="tx2"/>
                </a:solidFill>
              </a:rPr>
              <a:t>the</a:t>
            </a:r>
            <a:r>
              <a:rPr lang="fi-FI" sz="1200" dirty="0">
                <a:solidFill>
                  <a:schemeClr val="tx2"/>
                </a:solidFill>
              </a:rPr>
              <a:t> long </a:t>
            </a:r>
            <a:r>
              <a:rPr lang="fi-FI" sz="1200" dirty="0" err="1">
                <a:solidFill>
                  <a:schemeClr val="tx2"/>
                </a:solidFill>
              </a:rPr>
              <a:t>term</a:t>
            </a:r>
            <a:r>
              <a:rPr lang="fi-FI" sz="1200" dirty="0">
                <a:solidFill>
                  <a:schemeClr val="tx2"/>
                </a:solidFill>
              </a:rPr>
              <a:t> – </a:t>
            </a:r>
            <a:r>
              <a:rPr lang="fi-FI" sz="1200" dirty="0" err="1">
                <a:solidFill>
                  <a:schemeClr val="tx2"/>
                </a:solidFill>
              </a:rPr>
              <a:t>consultants</a:t>
            </a:r>
            <a:r>
              <a:rPr lang="fi-FI" sz="1200" dirty="0">
                <a:solidFill>
                  <a:schemeClr val="tx2"/>
                </a:solidFill>
              </a:rPr>
              <a:t> as </a:t>
            </a:r>
            <a:r>
              <a:rPr lang="fi-FI" sz="1200" dirty="0" err="1">
                <a:solidFill>
                  <a:schemeClr val="tx2"/>
                </a:solidFill>
              </a:rPr>
              <a:t>specialty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experts</a:t>
            </a:r>
            <a:r>
              <a:rPr lang="fi-FI" sz="1200" dirty="0">
                <a:solidFill>
                  <a:schemeClr val="tx2"/>
                </a:solidFill>
              </a:rPr>
              <a:t>, </a:t>
            </a:r>
            <a:r>
              <a:rPr lang="fi-FI" sz="1200" dirty="0" err="1">
                <a:solidFill>
                  <a:schemeClr val="tx2"/>
                </a:solidFill>
              </a:rPr>
              <a:t>advisors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or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work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force</a:t>
            </a:r>
            <a:r>
              <a:rPr lang="fi-FI" sz="1200" dirty="0">
                <a:solidFill>
                  <a:schemeClr val="tx2"/>
                </a:solidFill>
              </a:rPr>
              <a:t> – </a:t>
            </a:r>
            <a:r>
              <a:rPr lang="fi-FI" sz="1200" dirty="0" err="1">
                <a:solidFill>
                  <a:schemeClr val="tx2"/>
                </a:solidFill>
              </a:rPr>
              <a:t>core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or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context</a:t>
            </a:r>
            <a:r>
              <a:rPr lang="fi-FI" sz="1200" dirty="0">
                <a:solidFill>
                  <a:schemeClr val="tx2"/>
                </a:solidFill>
              </a:rPr>
              <a:t>?</a:t>
            </a:r>
          </a:p>
          <a:p>
            <a:r>
              <a:rPr lang="fi-FI" sz="1500" dirty="0" err="1">
                <a:solidFill>
                  <a:schemeClr val="tx2"/>
                </a:solidFill>
              </a:rPr>
              <a:t>Only</a:t>
            </a:r>
            <a:r>
              <a:rPr lang="fi-FI" sz="1500" dirty="0">
                <a:solidFill>
                  <a:schemeClr val="tx2"/>
                </a:solidFill>
              </a:rPr>
              <a:t> team of </a:t>
            </a:r>
            <a:r>
              <a:rPr lang="fi-FI" sz="1500" dirty="0" err="1">
                <a:solidFill>
                  <a:schemeClr val="tx2"/>
                </a:solidFill>
              </a:rPr>
              <a:t>teams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goals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</a:p>
          <a:p>
            <a:pPr lvl="1"/>
            <a:r>
              <a:rPr lang="fi-FI" sz="1200" dirty="0">
                <a:solidFill>
                  <a:schemeClr val="tx2"/>
                </a:solidFill>
              </a:rPr>
              <a:t>for </a:t>
            </a:r>
            <a:r>
              <a:rPr lang="fi-FI" sz="1200" dirty="0" err="1">
                <a:solidFill>
                  <a:schemeClr val="tx2"/>
                </a:solidFill>
              </a:rPr>
              <a:t>example</a:t>
            </a:r>
            <a:r>
              <a:rPr lang="fi-FI" sz="1200" dirty="0">
                <a:solidFill>
                  <a:schemeClr val="tx2"/>
                </a:solidFill>
              </a:rPr>
              <a:t>: </a:t>
            </a:r>
            <a:r>
              <a:rPr lang="fi-FI" sz="1200" dirty="0" err="1">
                <a:solidFill>
                  <a:schemeClr val="tx2"/>
                </a:solidFill>
              </a:rPr>
              <a:t>ways</a:t>
            </a:r>
            <a:r>
              <a:rPr lang="fi-FI" sz="1200" dirty="0">
                <a:solidFill>
                  <a:schemeClr val="tx2"/>
                </a:solidFill>
              </a:rPr>
              <a:t> of </a:t>
            </a:r>
            <a:r>
              <a:rPr lang="fi-FI" sz="1200" dirty="0" err="1">
                <a:solidFill>
                  <a:schemeClr val="tx2"/>
                </a:solidFill>
              </a:rPr>
              <a:t>working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goals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or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</a:p>
          <a:p>
            <a:pPr marL="313200" lvl="1" indent="0">
              <a:buNone/>
            </a:pPr>
            <a:r>
              <a:rPr lang="fi-FI" sz="1200" dirty="0" err="1">
                <a:solidFill>
                  <a:schemeClr val="tx2"/>
                </a:solidFill>
              </a:rPr>
              <a:t>concrete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enough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OKRs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instead</a:t>
            </a:r>
            <a:r>
              <a:rPr lang="fi-FI" sz="1200" dirty="0">
                <a:solidFill>
                  <a:schemeClr val="tx2"/>
                </a:solidFill>
              </a:rPr>
              <a:t> of </a:t>
            </a:r>
            <a:r>
              <a:rPr lang="fi-FI" sz="1200" dirty="0" err="1">
                <a:solidFill>
                  <a:schemeClr val="tx2"/>
                </a:solidFill>
              </a:rPr>
              <a:t>individual</a:t>
            </a:r>
            <a:r>
              <a:rPr lang="fi-FI" sz="1200" dirty="0">
                <a:solidFill>
                  <a:schemeClr val="tx2"/>
                </a:solidFill>
              </a:rPr>
              <a:t> </a:t>
            </a:r>
            <a:r>
              <a:rPr lang="fi-FI" sz="1200" dirty="0" err="1">
                <a:solidFill>
                  <a:schemeClr val="tx2"/>
                </a:solidFill>
              </a:rPr>
              <a:t>goals</a:t>
            </a:r>
            <a:endParaRPr lang="fi-FI" sz="1200" dirty="0">
              <a:solidFill>
                <a:schemeClr val="tx2"/>
              </a:solidFill>
            </a:endParaRPr>
          </a:p>
          <a:p>
            <a:r>
              <a:rPr lang="fi-FI" sz="1500" dirty="0" err="1">
                <a:solidFill>
                  <a:schemeClr val="tx2"/>
                </a:solidFill>
              </a:rPr>
              <a:t>Horizontal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real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time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communications</a:t>
            </a:r>
            <a:endParaRPr lang="fi-FI" sz="1500" dirty="0">
              <a:solidFill>
                <a:schemeClr val="tx2"/>
              </a:solidFill>
            </a:endParaRPr>
          </a:p>
          <a:p>
            <a:r>
              <a:rPr lang="fi-FI" sz="1500" dirty="0" err="1">
                <a:solidFill>
                  <a:schemeClr val="tx2"/>
                </a:solidFill>
              </a:rPr>
              <a:t>Minimize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dependencies</a:t>
            </a:r>
            <a:r>
              <a:rPr lang="fi-FI" sz="1500" dirty="0">
                <a:solidFill>
                  <a:schemeClr val="tx2"/>
                </a:solidFill>
              </a:rPr>
              <a:t> in </a:t>
            </a:r>
            <a:r>
              <a:rPr lang="fi-FI" sz="1500" dirty="0" err="1">
                <a:solidFill>
                  <a:schemeClr val="tx2"/>
                </a:solidFill>
              </a:rPr>
              <a:t>tech</a:t>
            </a:r>
            <a:r>
              <a:rPr lang="fi-FI" sz="1500" dirty="0">
                <a:solidFill>
                  <a:schemeClr val="tx2"/>
                </a:solidFill>
              </a:rPr>
              <a:t> and </a:t>
            </a:r>
            <a:r>
              <a:rPr lang="fi-FI" sz="1500" dirty="0" err="1">
                <a:solidFill>
                  <a:schemeClr val="tx2"/>
                </a:solidFill>
              </a:rPr>
              <a:t>functions</a:t>
            </a:r>
            <a:endParaRPr lang="fi-FI" sz="1500" dirty="0">
              <a:solidFill>
                <a:schemeClr val="tx2"/>
              </a:solidFill>
            </a:endParaRPr>
          </a:p>
          <a:p>
            <a:r>
              <a:rPr lang="fi-FI" sz="1500" dirty="0" err="1">
                <a:solidFill>
                  <a:schemeClr val="tx2"/>
                </a:solidFill>
              </a:rPr>
              <a:t>Common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easy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access</a:t>
            </a:r>
            <a:r>
              <a:rPr lang="fi-FI" sz="1500" dirty="0">
                <a:solidFill>
                  <a:schemeClr val="tx2"/>
                </a:solidFill>
              </a:rPr>
              <a:t> to </a:t>
            </a:r>
            <a:r>
              <a:rPr lang="fi-FI" sz="1500" dirty="0" err="1">
                <a:solidFill>
                  <a:schemeClr val="tx2"/>
                </a:solidFill>
              </a:rPr>
              <a:t>all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the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product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artifacts</a:t>
            </a:r>
            <a:r>
              <a:rPr lang="fi-FI" sz="1500" dirty="0">
                <a:solidFill>
                  <a:schemeClr val="tx2"/>
                </a:solidFill>
              </a:rPr>
              <a:t> and </a:t>
            </a:r>
            <a:r>
              <a:rPr lang="fi-FI" sz="1500" dirty="0" err="1">
                <a:solidFill>
                  <a:schemeClr val="tx2"/>
                </a:solidFill>
              </a:rPr>
              <a:t>situational</a:t>
            </a:r>
            <a:r>
              <a:rPr lang="fi-FI" sz="1500" dirty="0">
                <a:solidFill>
                  <a:schemeClr val="tx2"/>
                </a:solidFill>
              </a:rPr>
              <a:t> </a:t>
            </a:r>
            <a:r>
              <a:rPr lang="fi-FI" sz="1500" dirty="0" err="1">
                <a:solidFill>
                  <a:schemeClr val="tx2"/>
                </a:solidFill>
              </a:rPr>
              <a:t>view</a:t>
            </a:r>
            <a:endParaRPr lang="fi-FI" sz="1500" dirty="0"/>
          </a:p>
          <a:p>
            <a:endParaRPr lang="fi-FI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E5AC76E-0DDC-1048-9CFA-9AF4B12DC19D}"/>
              </a:ext>
            </a:extLst>
          </p:cNvPr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595433868"/>
              </p:ext>
            </p:extLst>
          </p:nvPr>
        </p:nvGraphicFramePr>
        <p:xfrm>
          <a:off x="4355976" y="1130400"/>
          <a:ext cx="4507224" cy="352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5AB804D-8270-014A-BB5D-B22E530324B8}"/>
              </a:ext>
            </a:extLst>
          </p:cNvPr>
          <p:cNvSpPr/>
          <p:nvPr/>
        </p:nvSpPr>
        <p:spPr>
          <a:xfrm>
            <a:off x="5508104" y="4657242"/>
            <a:ext cx="281654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400" dirty="0" err="1">
                <a:solidFill>
                  <a:schemeClr val="tx2"/>
                </a:solidFill>
              </a:rPr>
              <a:t>Example</a:t>
            </a:r>
            <a:r>
              <a:rPr lang="fi-FI" sz="1400" dirty="0">
                <a:solidFill>
                  <a:schemeClr val="tx2"/>
                </a:solidFill>
              </a:rPr>
              <a:t>: </a:t>
            </a:r>
            <a:r>
              <a:rPr lang="fi-FI" sz="1400" dirty="0" err="1">
                <a:solidFill>
                  <a:schemeClr val="tx2"/>
                </a:solidFill>
              </a:rPr>
              <a:t>Ways</a:t>
            </a:r>
            <a:r>
              <a:rPr lang="fi-FI" sz="1400" dirty="0">
                <a:solidFill>
                  <a:schemeClr val="tx2"/>
                </a:solidFill>
              </a:rPr>
              <a:t> of </a:t>
            </a:r>
            <a:r>
              <a:rPr lang="fi-FI" sz="1400" dirty="0" err="1">
                <a:solidFill>
                  <a:schemeClr val="tx2"/>
                </a:solidFill>
              </a:rPr>
              <a:t>working</a:t>
            </a:r>
            <a:r>
              <a:rPr lang="fi-FI" sz="1400" dirty="0">
                <a:solidFill>
                  <a:schemeClr val="tx2"/>
                </a:solidFill>
              </a:rPr>
              <a:t> </a:t>
            </a:r>
            <a:r>
              <a:rPr lang="fi-FI" sz="1400" dirty="0" err="1">
                <a:solidFill>
                  <a:schemeClr val="tx2"/>
                </a:solidFill>
              </a:rPr>
              <a:t>goals</a:t>
            </a:r>
            <a:r>
              <a:rPr lang="fi-FI" sz="1400" dirty="0">
                <a:solidFill>
                  <a:schemeClr val="tx2"/>
                </a:solidFill>
              </a:rPr>
              <a:t> </a:t>
            </a:r>
            <a:endParaRPr lang="fi-FI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CB44F4-5E69-AF4B-B822-4DF21162451F}"/>
              </a:ext>
            </a:extLst>
          </p:cNvPr>
          <p:cNvSpPr txBox="1"/>
          <p:nvPr/>
        </p:nvSpPr>
        <p:spPr>
          <a:xfrm>
            <a:off x="0" y="-2395"/>
            <a:ext cx="217559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Scaling</a:t>
            </a:r>
            <a:r>
              <a:rPr lang="fi-FI" sz="1400" dirty="0"/>
              <a:t> to </a:t>
            </a:r>
            <a:r>
              <a:rPr lang="fi-FI" sz="1400" dirty="0" err="1"/>
              <a:t>multiple</a:t>
            </a:r>
            <a:r>
              <a:rPr lang="fi-FI" sz="1400" dirty="0"/>
              <a:t> </a:t>
            </a:r>
            <a:r>
              <a:rPr lang="fi-FI" sz="1400" dirty="0" err="1"/>
              <a:t>teams</a:t>
            </a:r>
            <a:endParaRPr lang="fi-FI" sz="1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76EBCD-C16C-A343-83C8-2097E762043C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12111278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9ABD8B-2914-1E45-8AD3-F57ADD35F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2800" dirty="0" err="1"/>
              <a:t>Scale</a:t>
            </a:r>
            <a:r>
              <a:rPr lang="fi-FI" sz="2800" dirty="0"/>
              <a:t> </a:t>
            </a:r>
            <a:r>
              <a:rPr lang="fi-FI" sz="2800" dirty="0" err="1"/>
              <a:t>by</a:t>
            </a:r>
            <a:r>
              <a:rPr lang="fi-FI" sz="2800" dirty="0"/>
              <a:t> </a:t>
            </a:r>
            <a:r>
              <a:rPr lang="fi-FI" sz="2800" dirty="0" err="1"/>
              <a:t>improving</a:t>
            </a:r>
            <a:r>
              <a:rPr lang="fi-FI" sz="2800" dirty="0"/>
              <a:t> </a:t>
            </a:r>
            <a:r>
              <a:rPr lang="fi-FI" sz="2800" dirty="0" err="1"/>
              <a:t>ways</a:t>
            </a:r>
            <a:r>
              <a:rPr lang="fi-FI" sz="2800" dirty="0"/>
              <a:t> of </a:t>
            </a:r>
            <a:r>
              <a:rPr lang="fi-FI" sz="2800" dirty="0" err="1"/>
              <a:t>working</a:t>
            </a:r>
            <a:endParaRPr lang="fi-FI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500DE5-95E8-5149-A93F-535502440B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800" y="1059582"/>
            <a:ext cx="7675584" cy="3240000"/>
          </a:xfrm>
        </p:spPr>
        <p:txBody>
          <a:bodyPr>
            <a:normAutofit/>
          </a:bodyPr>
          <a:lstStyle/>
          <a:p>
            <a:pPr marL="313200" lvl="1" indent="0">
              <a:buNone/>
            </a:pPr>
            <a:r>
              <a:rPr lang="fi-FI" b="1" dirty="0" err="1"/>
              <a:t>Don’t</a:t>
            </a:r>
            <a:r>
              <a:rPr lang="fi-FI" b="1" dirty="0"/>
              <a:t> </a:t>
            </a:r>
            <a:r>
              <a:rPr lang="fi-FI" b="1" dirty="0" err="1"/>
              <a:t>leave</a:t>
            </a:r>
            <a:r>
              <a:rPr lang="fi-FI" b="1" dirty="0"/>
              <a:t> </a:t>
            </a:r>
            <a:r>
              <a:rPr lang="fi-FI" b="1" dirty="0" err="1"/>
              <a:t>too</a:t>
            </a:r>
            <a:r>
              <a:rPr lang="fi-FI" b="1" dirty="0"/>
              <a:t> </a:t>
            </a:r>
            <a:r>
              <a:rPr lang="fi-FI" b="1" dirty="0" err="1"/>
              <a:t>much</a:t>
            </a:r>
            <a:r>
              <a:rPr lang="fi-FI" b="1" dirty="0"/>
              <a:t> </a:t>
            </a:r>
            <a:r>
              <a:rPr lang="fi-FI" b="1" dirty="0" err="1"/>
              <a:t>debt</a:t>
            </a:r>
            <a:r>
              <a:rPr lang="fi-FI" b="1" dirty="0"/>
              <a:t> </a:t>
            </a:r>
            <a:r>
              <a:rPr lang="fi-FI" b="1" dirty="0" err="1"/>
              <a:t>behind</a:t>
            </a:r>
            <a:endParaRPr lang="fi-FI" b="1" dirty="0"/>
          </a:p>
          <a:p>
            <a:pPr lvl="1">
              <a:buFontTx/>
              <a:buChar char="-"/>
            </a:pPr>
            <a:r>
              <a:rPr lang="fi-FI" dirty="0" err="1"/>
              <a:t>Low</a:t>
            </a:r>
            <a:r>
              <a:rPr lang="fi-FI" dirty="0"/>
              <a:t> </a:t>
            </a:r>
            <a:r>
              <a:rPr lang="fi-FI" dirty="0" err="1"/>
              <a:t>number</a:t>
            </a:r>
            <a:r>
              <a:rPr lang="fi-FI" dirty="0"/>
              <a:t> of </a:t>
            </a:r>
            <a:r>
              <a:rPr lang="fi-FI" dirty="0" err="1"/>
              <a:t>bugs</a:t>
            </a:r>
            <a:r>
              <a:rPr lang="fi-FI" dirty="0"/>
              <a:t>,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get</a:t>
            </a:r>
            <a:r>
              <a:rPr lang="fi-FI" dirty="0"/>
              <a:t> </a:t>
            </a:r>
            <a:r>
              <a:rPr lang="fi-FI" dirty="0" err="1"/>
              <a:t>bitten</a:t>
            </a:r>
            <a:r>
              <a:rPr lang="fi-FI" dirty="0"/>
              <a:t> at </a:t>
            </a:r>
            <a:r>
              <a:rPr lang="fi-FI" dirty="0" err="1"/>
              <a:t>bad</a:t>
            </a:r>
            <a:r>
              <a:rPr lang="fi-FI" dirty="0"/>
              <a:t> </a:t>
            </a:r>
            <a:r>
              <a:rPr lang="fi-FI" dirty="0" err="1"/>
              <a:t>time</a:t>
            </a:r>
            <a:endParaRPr lang="fi-FI" dirty="0"/>
          </a:p>
          <a:p>
            <a:pPr lvl="2">
              <a:buFontTx/>
              <a:buChar char="-"/>
            </a:pPr>
            <a:r>
              <a:rPr lang="fi-FI" dirty="0"/>
              <a:t>1 </a:t>
            </a:r>
            <a:r>
              <a:rPr lang="fi-FI" dirty="0" err="1"/>
              <a:t>bug</a:t>
            </a:r>
            <a:r>
              <a:rPr lang="fi-FI" dirty="0"/>
              <a:t> per 3 </a:t>
            </a:r>
            <a:r>
              <a:rPr lang="fi-FI" dirty="0" err="1"/>
              <a:t>developers</a:t>
            </a:r>
            <a:r>
              <a:rPr lang="fi-FI" dirty="0"/>
              <a:t> open. </a:t>
            </a:r>
          </a:p>
          <a:p>
            <a:pPr lvl="2">
              <a:buFontTx/>
              <a:buChar char="-"/>
            </a:pPr>
            <a:r>
              <a:rPr lang="fi-FI" dirty="0"/>
              <a:t>No </a:t>
            </a:r>
            <a:r>
              <a:rPr lang="fi-FI" dirty="0" err="1"/>
              <a:t>old</a:t>
            </a:r>
            <a:r>
              <a:rPr lang="fi-FI" dirty="0"/>
              <a:t> </a:t>
            </a:r>
            <a:r>
              <a:rPr lang="fi-FI" dirty="0" err="1"/>
              <a:t>bugs</a:t>
            </a:r>
            <a:endParaRPr lang="fi-FI" dirty="0"/>
          </a:p>
          <a:p>
            <a:pPr lvl="1">
              <a:buFontTx/>
              <a:buChar char="-"/>
            </a:pPr>
            <a:r>
              <a:rPr lang="fi-FI" dirty="0"/>
              <a:t>Update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libraries</a:t>
            </a:r>
            <a:r>
              <a:rPr lang="fi-FI" dirty="0"/>
              <a:t> – </a:t>
            </a:r>
            <a:r>
              <a:rPr lang="fi-FI" dirty="0" err="1"/>
              <a:t>Whitesource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similar</a:t>
            </a:r>
            <a:endParaRPr lang="fi-FI" dirty="0"/>
          </a:p>
          <a:p>
            <a:pPr marL="313200" lvl="1" indent="0">
              <a:buNone/>
            </a:pPr>
            <a:endParaRPr lang="fi-FI" dirty="0"/>
          </a:p>
          <a:p>
            <a:pPr marL="313200" lvl="1" indent="0">
              <a:buNone/>
            </a:pPr>
            <a:r>
              <a:rPr lang="fi-FI" b="1" dirty="0" err="1"/>
              <a:t>Rapid</a:t>
            </a:r>
            <a:r>
              <a:rPr lang="fi-FI" b="1" dirty="0"/>
              <a:t> </a:t>
            </a:r>
            <a:r>
              <a:rPr lang="fi-FI" b="1" dirty="0" err="1"/>
              <a:t>iteration</a:t>
            </a:r>
            <a:r>
              <a:rPr lang="fi-FI" b="1" dirty="0"/>
              <a:t> </a:t>
            </a:r>
            <a:r>
              <a:rPr lang="fi-FI" b="1" dirty="0" err="1"/>
              <a:t>loops</a:t>
            </a:r>
            <a:r>
              <a:rPr lang="fi-FI" b="1" dirty="0"/>
              <a:t>, </a:t>
            </a:r>
            <a:r>
              <a:rPr lang="fi-FI" b="1" dirty="0" err="1"/>
              <a:t>constant</a:t>
            </a:r>
            <a:r>
              <a:rPr lang="fi-FI" b="1" dirty="0"/>
              <a:t> </a:t>
            </a:r>
            <a:r>
              <a:rPr lang="fi-FI" b="1" dirty="0" err="1"/>
              <a:t>delivery</a:t>
            </a:r>
            <a:r>
              <a:rPr lang="fi-FI" b="1" dirty="0"/>
              <a:t>. </a:t>
            </a:r>
          </a:p>
          <a:p>
            <a:pPr lvl="1"/>
            <a:r>
              <a:rPr lang="fi-FI" dirty="0" err="1"/>
              <a:t>Keep</a:t>
            </a:r>
            <a:r>
              <a:rPr lang="fi-FI" dirty="0"/>
              <a:t> </a:t>
            </a:r>
            <a:r>
              <a:rPr lang="fi-FI" dirty="0" err="1"/>
              <a:t>eye</a:t>
            </a:r>
            <a:r>
              <a:rPr lang="fi-FI" dirty="0"/>
              <a:t> on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flow</a:t>
            </a:r>
            <a:r>
              <a:rPr lang="fi-FI" dirty="0"/>
              <a:t>, </a:t>
            </a:r>
            <a:r>
              <a:rPr lang="fi-FI" dirty="0" err="1"/>
              <a:t>small</a:t>
            </a:r>
            <a:r>
              <a:rPr lang="fi-FI" dirty="0"/>
              <a:t> WIP</a:t>
            </a:r>
          </a:p>
          <a:p>
            <a:pPr lvl="1"/>
            <a:r>
              <a:rPr lang="fi-FI" dirty="0"/>
              <a:t>CI, CD, </a:t>
            </a:r>
            <a:r>
              <a:rPr lang="fi-FI" dirty="0" err="1"/>
              <a:t>DevOps</a:t>
            </a:r>
            <a:r>
              <a:rPr lang="fi-FI" dirty="0"/>
              <a:t> </a:t>
            </a:r>
            <a:r>
              <a:rPr lang="fi-FI" dirty="0" err="1"/>
              <a:t>do</a:t>
            </a:r>
            <a:r>
              <a:rPr lang="fi-FI" dirty="0"/>
              <a:t> </a:t>
            </a:r>
            <a:r>
              <a:rPr lang="fi-FI" dirty="0" err="1"/>
              <a:t>not</a:t>
            </a:r>
            <a:r>
              <a:rPr lang="fi-FI" dirty="0"/>
              <a:t> </a:t>
            </a:r>
            <a:r>
              <a:rPr lang="fi-FI" dirty="0" err="1"/>
              <a:t>call</a:t>
            </a:r>
            <a:r>
              <a:rPr lang="fi-FI" dirty="0"/>
              <a:t> it ci </a:t>
            </a:r>
            <a:r>
              <a:rPr lang="fi-FI" dirty="0" err="1"/>
              <a:t>if</a:t>
            </a:r>
            <a:r>
              <a:rPr lang="fi-FI" dirty="0"/>
              <a:t> </a:t>
            </a:r>
            <a:r>
              <a:rPr lang="fi-FI" dirty="0" err="1"/>
              <a:t>you</a:t>
            </a:r>
            <a:r>
              <a:rPr lang="fi-FI" dirty="0"/>
              <a:t> just </a:t>
            </a:r>
            <a:r>
              <a:rPr lang="fi-FI" dirty="0" err="1"/>
              <a:t>build</a:t>
            </a:r>
            <a:r>
              <a:rPr lang="fi-FI" dirty="0"/>
              <a:t> </a:t>
            </a:r>
            <a:r>
              <a:rPr lang="fi-FI" dirty="0" err="1"/>
              <a:t>stuff</a:t>
            </a:r>
            <a:endParaRPr lang="fi-FI" dirty="0"/>
          </a:p>
          <a:p>
            <a:pPr lvl="1"/>
            <a:r>
              <a:rPr lang="fi-FI" dirty="0" err="1"/>
              <a:t>Minimize</a:t>
            </a:r>
            <a:r>
              <a:rPr lang="fi-FI" dirty="0"/>
              <a:t> </a:t>
            </a:r>
            <a:r>
              <a:rPr lang="fi-FI" dirty="0" err="1"/>
              <a:t>delivery</a:t>
            </a:r>
            <a:r>
              <a:rPr lang="fi-FI" dirty="0"/>
              <a:t> </a:t>
            </a:r>
            <a:r>
              <a:rPr lang="fi-FI" dirty="0" err="1"/>
              <a:t>chunks</a:t>
            </a:r>
            <a:endParaRPr lang="fi-FI" dirty="0"/>
          </a:p>
          <a:p>
            <a:pPr lvl="1"/>
            <a:r>
              <a:rPr lang="fi-FI" dirty="0" err="1"/>
              <a:t>Coverage</a:t>
            </a:r>
            <a:r>
              <a:rPr lang="fi-FI" dirty="0"/>
              <a:t> is </a:t>
            </a:r>
            <a:r>
              <a:rPr lang="fi-FI" dirty="0" err="1"/>
              <a:t>safety</a:t>
            </a:r>
            <a:r>
              <a:rPr lang="fi-FI" dirty="0"/>
              <a:t> net</a:t>
            </a:r>
          </a:p>
          <a:p>
            <a:pPr lvl="1"/>
            <a:r>
              <a:rPr lang="fi-FI" dirty="0" err="1"/>
              <a:t>Automate</a:t>
            </a:r>
            <a:r>
              <a:rPr lang="fi-FI" dirty="0"/>
              <a:t>…</a:t>
            </a:r>
          </a:p>
          <a:p>
            <a:pPr marL="313200" lvl="1" indent="0">
              <a:buNone/>
            </a:pPr>
            <a:endParaRPr lang="fi-FI" dirty="0"/>
          </a:p>
          <a:p>
            <a:pPr marL="313200" lvl="1" indent="0">
              <a:buNone/>
            </a:pPr>
            <a:r>
              <a:rPr lang="fi-FI" b="1" dirty="0"/>
              <a:t>Make </a:t>
            </a:r>
            <a:r>
              <a:rPr lang="fi-FI" b="1" dirty="0" err="1"/>
              <a:t>everything</a:t>
            </a:r>
            <a:r>
              <a:rPr lang="fi-FI" b="1" dirty="0"/>
              <a:t> </a:t>
            </a:r>
            <a:r>
              <a:rPr lang="fi-FI" b="1" dirty="0" err="1"/>
              <a:t>visible</a:t>
            </a:r>
            <a:r>
              <a:rPr lang="fi-FI" b="1" dirty="0"/>
              <a:t> and </a:t>
            </a:r>
            <a:r>
              <a:rPr lang="fi-FI" b="1" dirty="0" err="1"/>
              <a:t>actionable</a:t>
            </a:r>
            <a:endParaRPr lang="fi-FI" b="1" dirty="0"/>
          </a:p>
          <a:p>
            <a:pPr marL="313200" lvl="1" indent="0">
              <a:buNone/>
            </a:pPr>
            <a:endParaRPr lang="fi-FI" b="1" dirty="0"/>
          </a:p>
          <a:p>
            <a:pPr marL="313200" lvl="1" indent="0">
              <a:buNone/>
            </a:pPr>
            <a:r>
              <a:rPr lang="fi-FI" b="1" dirty="0" err="1">
                <a:solidFill>
                  <a:schemeClr val="tx2"/>
                </a:solidFill>
              </a:rPr>
              <a:t>Horizontal</a:t>
            </a:r>
            <a:r>
              <a:rPr lang="fi-FI" b="1" dirty="0">
                <a:solidFill>
                  <a:schemeClr val="tx2"/>
                </a:solidFill>
              </a:rPr>
              <a:t> </a:t>
            </a:r>
            <a:r>
              <a:rPr lang="fi-FI" b="1" dirty="0" err="1">
                <a:solidFill>
                  <a:schemeClr val="tx2"/>
                </a:solidFill>
              </a:rPr>
              <a:t>real</a:t>
            </a:r>
            <a:r>
              <a:rPr lang="fi-FI" b="1" dirty="0">
                <a:solidFill>
                  <a:schemeClr val="tx2"/>
                </a:solidFill>
              </a:rPr>
              <a:t> </a:t>
            </a:r>
            <a:r>
              <a:rPr lang="fi-FI" b="1" dirty="0" err="1">
                <a:solidFill>
                  <a:schemeClr val="tx2"/>
                </a:solidFill>
              </a:rPr>
              <a:t>time</a:t>
            </a:r>
            <a:r>
              <a:rPr lang="fi-FI" b="1" dirty="0">
                <a:solidFill>
                  <a:schemeClr val="tx2"/>
                </a:solidFill>
              </a:rPr>
              <a:t> </a:t>
            </a:r>
            <a:r>
              <a:rPr lang="fi-FI" b="1" dirty="0" err="1">
                <a:solidFill>
                  <a:schemeClr val="tx2"/>
                </a:solidFill>
              </a:rPr>
              <a:t>communications</a:t>
            </a:r>
            <a:endParaRPr lang="fi-FI" b="1" dirty="0"/>
          </a:p>
          <a:p>
            <a:pPr marL="313200" lvl="1" indent="0">
              <a:buNone/>
            </a:pPr>
            <a:endParaRPr lang="fi-FI" dirty="0"/>
          </a:p>
          <a:p>
            <a:pPr marL="313200" lvl="1" indent="0">
              <a:buNone/>
            </a:pPr>
            <a:r>
              <a:rPr lang="fi-FI" b="1" dirty="0" err="1"/>
              <a:t>Involve</a:t>
            </a:r>
            <a:r>
              <a:rPr lang="fi-FI" b="1" dirty="0"/>
              <a:t> </a:t>
            </a:r>
            <a:r>
              <a:rPr lang="fi-FI" b="1" dirty="0" err="1"/>
              <a:t>regularly</a:t>
            </a:r>
            <a:r>
              <a:rPr lang="fi-FI" b="1" dirty="0"/>
              <a:t> </a:t>
            </a:r>
            <a:r>
              <a:rPr lang="fi-FI" b="1" dirty="0" err="1"/>
              <a:t>the</a:t>
            </a:r>
            <a:r>
              <a:rPr lang="fi-FI" b="1" dirty="0"/>
              <a:t> cross team </a:t>
            </a:r>
            <a:r>
              <a:rPr lang="fi-FI" b="1" dirty="0" err="1"/>
              <a:t>knowledge</a:t>
            </a:r>
            <a:r>
              <a:rPr lang="fi-FI" b="1" dirty="0"/>
              <a:t> on </a:t>
            </a:r>
            <a:r>
              <a:rPr lang="fi-FI" b="1" dirty="0" err="1"/>
              <a:t>common</a:t>
            </a:r>
            <a:r>
              <a:rPr lang="fi-FI" b="1" dirty="0"/>
              <a:t> </a:t>
            </a:r>
            <a:r>
              <a:rPr lang="fi-FI" b="1" dirty="0" err="1"/>
              <a:t>technical</a:t>
            </a:r>
            <a:r>
              <a:rPr lang="fi-FI" b="1" dirty="0"/>
              <a:t> and </a:t>
            </a:r>
            <a:r>
              <a:rPr lang="fi-FI" b="1" dirty="0" err="1"/>
              <a:t>functional</a:t>
            </a:r>
            <a:r>
              <a:rPr lang="fi-FI" b="1" dirty="0"/>
              <a:t> </a:t>
            </a:r>
            <a:r>
              <a:rPr lang="fi-FI" b="1" dirty="0" err="1"/>
              <a:t>teams</a:t>
            </a:r>
            <a:r>
              <a:rPr lang="fi-FI" b="1" dirty="0"/>
              <a:t> </a:t>
            </a:r>
          </a:p>
          <a:p>
            <a:pPr marL="313200" lvl="1" indent="0">
              <a:buNone/>
            </a:pPr>
            <a:r>
              <a:rPr lang="fi-FI" dirty="0"/>
              <a:t>- </a:t>
            </a:r>
            <a:r>
              <a:rPr lang="fi-FI" dirty="0" err="1"/>
              <a:t>Devgrooming</a:t>
            </a:r>
            <a:r>
              <a:rPr lang="fi-FI" dirty="0"/>
              <a:t>, ”</a:t>
            </a:r>
            <a:r>
              <a:rPr lang="fi-FI" dirty="0" err="1"/>
              <a:t>gates</a:t>
            </a:r>
            <a:r>
              <a:rPr lang="fi-FI" dirty="0"/>
              <a:t>” </a:t>
            </a:r>
            <a:r>
              <a:rPr lang="fi-FI" dirty="0" err="1"/>
              <a:t>discussion</a:t>
            </a:r>
            <a:endParaRPr lang="fi-FI" dirty="0"/>
          </a:p>
          <a:p>
            <a:pPr marL="313200" lvl="1" indent="0">
              <a:buNone/>
            </a:pPr>
            <a:endParaRPr lang="fi-FI" dirty="0"/>
          </a:p>
          <a:p>
            <a:pPr marL="313200" lvl="1" indent="0">
              <a:buNone/>
            </a:pPr>
            <a:endParaRPr lang="fi-FI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115B3E-8EBD-3342-872A-018F37B8CB00}"/>
              </a:ext>
            </a:extLst>
          </p:cNvPr>
          <p:cNvSpPr txBox="1"/>
          <p:nvPr/>
        </p:nvSpPr>
        <p:spPr>
          <a:xfrm>
            <a:off x="0" y="-2395"/>
            <a:ext cx="217559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Scaling</a:t>
            </a:r>
            <a:r>
              <a:rPr lang="fi-FI" sz="1400" dirty="0"/>
              <a:t> to </a:t>
            </a:r>
            <a:r>
              <a:rPr lang="fi-FI" sz="1400" dirty="0" err="1"/>
              <a:t>multiple</a:t>
            </a:r>
            <a:r>
              <a:rPr lang="fi-FI" sz="1400" dirty="0"/>
              <a:t> </a:t>
            </a:r>
            <a:r>
              <a:rPr lang="fi-FI" sz="1400" dirty="0" err="1"/>
              <a:t>teams</a:t>
            </a:r>
            <a:endParaRPr lang="fi-FI" sz="1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11BA3C-2F55-D543-830D-762F4A23C91F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66933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9ABD8B-2914-1E45-8AD3-F57ADD35F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2800" dirty="0" err="1"/>
              <a:t>Challenges</a:t>
            </a:r>
            <a:r>
              <a:rPr lang="fi-FI" sz="2800" dirty="0"/>
              <a:t> in </a:t>
            </a:r>
            <a:r>
              <a:rPr lang="fi-FI" sz="2800" dirty="0" err="1"/>
              <a:t>scaling</a:t>
            </a:r>
            <a:endParaRPr lang="fi-FI" sz="2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DC3915-5413-C348-BD66-5D07569A94F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52800" y="1131590"/>
            <a:ext cx="7387552" cy="3888432"/>
          </a:xfrm>
        </p:spPr>
        <p:txBody>
          <a:bodyPr>
            <a:normAutofit/>
          </a:bodyPr>
          <a:lstStyle/>
          <a:p>
            <a:pPr lvl="1"/>
            <a:endParaRPr lang="fi-FI" dirty="0"/>
          </a:p>
          <a:p>
            <a:r>
              <a:rPr lang="fi-FI" dirty="0" err="1"/>
              <a:t>Large</a:t>
            </a:r>
            <a:r>
              <a:rPr lang="fi-FI" dirty="0"/>
              <a:t> </a:t>
            </a:r>
            <a:r>
              <a:rPr lang="fi-FI" dirty="0" err="1"/>
              <a:t>timezone</a:t>
            </a:r>
            <a:r>
              <a:rPr lang="fi-FI" dirty="0"/>
              <a:t> </a:t>
            </a:r>
            <a:r>
              <a:rPr lang="fi-FI" dirty="0" err="1"/>
              <a:t>differences</a:t>
            </a:r>
            <a:endParaRPr lang="fi-FI" dirty="0"/>
          </a:p>
          <a:p>
            <a:r>
              <a:rPr lang="fi-FI" dirty="0" err="1"/>
              <a:t>Siloes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silo</a:t>
            </a:r>
            <a:r>
              <a:rPr lang="fi-FI" dirty="0"/>
              <a:t> </a:t>
            </a:r>
            <a:r>
              <a:rPr lang="fi-FI" dirty="0" err="1"/>
              <a:t>objectives</a:t>
            </a:r>
            <a:r>
              <a:rPr lang="fi-FI" dirty="0"/>
              <a:t>  </a:t>
            </a:r>
            <a:r>
              <a:rPr lang="fi-FI" dirty="0" err="1"/>
              <a:t>slowing</a:t>
            </a:r>
            <a:r>
              <a:rPr lang="fi-FI" dirty="0"/>
              <a:t> </a:t>
            </a:r>
            <a:r>
              <a:rPr lang="fi-FI" dirty="0" err="1"/>
              <a:t>down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flow</a:t>
            </a:r>
            <a:endParaRPr lang="fi-FI" dirty="0"/>
          </a:p>
          <a:p>
            <a:r>
              <a:rPr lang="fi-FI" dirty="0"/>
              <a:t>Product </a:t>
            </a:r>
            <a:r>
              <a:rPr lang="fi-FI" dirty="0" err="1"/>
              <a:t>dependencies</a:t>
            </a:r>
            <a:r>
              <a:rPr lang="fi-FI" dirty="0"/>
              <a:t> : </a:t>
            </a:r>
            <a:r>
              <a:rPr lang="fi-FI" dirty="0" err="1"/>
              <a:t>Functional</a:t>
            </a:r>
            <a:r>
              <a:rPr lang="fi-FI" dirty="0"/>
              <a:t>, </a:t>
            </a:r>
            <a:r>
              <a:rPr lang="fi-FI" dirty="0" err="1"/>
              <a:t>technical</a:t>
            </a:r>
            <a:r>
              <a:rPr lang="fi-FI" dirty="0"/>
              <a:t>, </a:t>
            </a:r>
            <a:r>
              <a:rPr lang="fi-FI" dirty="0" err="1"/>
              <a:t>external</a:t>
            </a:r>
            <a:r>
              <a:rPr lang="fi-FI" dirty="0"/>
              <a:t> </a:t>
            </a:r>
            <a:r>
              <a:rPr lang="fi-FI" dirty="0" err="1"/>
              <a:t>dependencies</a:t>
            </a:r>
            <a:endParaRPr lang="fi-FI" dirty="0"/>
          </a:p>
          <a:p>
            <a:r>
              <a:rPr lang="fi-FI" dirty="0"/>
              <a:t>People </a:t>
            </a:r>
            <a:r>
              <a:rPr lang="fi-FI" dirty="0" err="1"/>
              <a:t>dependencies</a:t>
            </a:r>
            <a:r>
              <a:rPr lang="fi-FI" dirty="0"/>
              <a:t>: </a:t>
            </a:r>
            <a:r>
              <a:rPr lang="fi-FI" dirty="0" err="1"/>
              <a:t>role</a:t>
            </a:r>
            <a:r>
              <a:rPr lang="fi-FI" dirty="0"/>
              <a:t>, </a:t>
            </a:r>
            <a:r>
              <a:rPr lang="fi-FI" dirty="0" err="1"/>
              <a:t>responsibilities</a:t>
            </a:r>
            <a:r>
              <a:rPr lang="fi-FI" dirty="0"/>
              <a:t>, </a:t>
            </a:r>
            <a:r>
              <a:rPr lang="fi-FI" dirty="0" err="1"/>
              <a:t>skillset</a:t>
            </a:r>
            <a:r>
              <a:rPr lang="fi-FI" dirty="0"/>
              <a:t> (”Pete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Bottleneck</a:t>
            </a:r>
            <a:r>
              <a:rPr lang="fi-FI" dirty="0"/>
              <a:t>”, ”HQ”)</a:t>
            </a:r>
          </a:p>
          <a:p>
            <a:r>
              <a:rPr lang="fi-FI" dirty="0" err="1"/>
              <a:t>Cultural</a:t>
            </a:r>
            <a:r>
              <a:rPr lang="fi-FI" dirty="0"/>
              <a:t> </a:t>
            </a:r>
            <a:r>
              <a:rPr lang="fi-FI" dirty="0" err="1"/>
              <a:t>issues</a:t>
            </a:r>
            <a:r>
              <a:rPr lang="fi-FI" dirty="0"/>
              <a:t> (team culture (”</a:t>
            </a:r>
            <a:r>
              <a:rPr lang="fi-FI" dirty="0" err="1"/>
              <a:t>not</a:t>
            </a:r>
            <a:r>
              <a:rPr lang="fi-FI" dirty="0"/>
              <a:t> </a:t>
            </a:r>
            <a:r>
              <a:rPr lang="fi-FI" dirty="0" err="1"/>
              <a:t>willing</a:t>
            </a:r>
            <a:r>
              <a:rPr lang="fi-FI" dirty="0"/>
              <a:t> to </a:t>
            </a:r>
            <a:r>
              <a:rPr lang="fi-FI" dirty="0" err="1"/>
              <a:t>participate</a:t>
            </a:r>
            <a:r>
              <a:rPr lang="fi-FI" dirty="0"/>
              <a:t>”, NIH, </a:t>
            </a:r>
            <a:r>
              <a:rPr lang="fi-FI" dirty="0" err="1"/>
              <a:t>people</a:t>
            </a:r>
            <a:r>
              <a:rPr lang="fi-FI" dirty="0"/>
              <a:t> culture)</a:t>
            </a:r>
          </a:p>
          <a:p>
            <a:r>
              <a:rPr lang="fi-FI" dirty="0" err="1"/>
              <a:t>Large</a:t>
            </a:r>
            <a:r>
              <a:rPr lang="fi-FI" dirty="0"/>
              <a:t> ”</a:t>
            </a:r>
            <a:r>
              <a:rPr lang="fi-FI" dirty="0" err="1"/>
              <a:t>legacy</a:t>
            </a:r>
            <a:r>
              <a:rPr lang="fi-FI" dirty="0"/>
              <a:t>” </a:t>
            </a:r>
            <a:r>
              <a:rPr lang="fi-FI" dirty="0" err="1"/>
              <a:t>codebases</a:t>
            </a:r>
            <a:r>
              <a:rPr lang="fi-FI" dirty="0"/>
              <a:t> </a:t>
            </a:r>
          </a:p>
          <a:p>
            <a:r>
              <a:rPr lang="fi-FI" dirty="0" err="1"/>
              <a:t>Common</a:t>
            </a:r>
            <a:r>
              <a:rPr lang="fi-FI" dirty="0"/>
              <a:t> ”design” </a:t>
            </a:r>
            <a:r>
              <a:rPr lang="fi-FI" dirty="0" err="1"/>
              <a:t>activities</a:t>
            </a:r>
            <a:r>
              <a:rPr lang="fi-FI" dirty="0"/>
              <a:t>  </a:t>
            </a:r>
            <a:r>
              <a:rPr lang="fi-FI" dirty="0" err="1"/>
              <a:t>across</a:t>
            </a:r>
            <a:r>
              <a:rPr lang="fi-FI" dirty="0"/>
              <a:t> </a:t>
            </a:r>
            <a:r>
              <a:rPr lang="fi-FI" dirty="0" err="1"/>
              <a:t>sites</a:t>
            </a:r>
            <a:endParaRPr lang="fi-FI" dirty="0"/>
          </a:p>
          <a:p>
            <a:r>
              <a:rPr lang="fi-FI" dirty="0" err="1"/>
              <a:t>Maintaining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retrospective</a:t>
            </a:r>
            <a:r>
              <a:rPr lang="fi-FI" dirty="0"/>
              <a:t> culture</a:t>
            </a:r>
          </a:p>
          <a:p>
            <a:endParaRPr lang="fi-FI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DEDF74-87C3-1543-9BCB-9352790010C1}"/>
              </a:ext>
            </a:extLst>
          </p:cNvPr>
          <p:cNvSpPr txBox="1"/>
          <p:nvPr/>
        </p:nvSpPr>
        <p:spPr>
          <a:xfrm>
            <a:off x="0" y="-2395"/>
            <a:ext cx="217559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Scaling</a:t>
            </a:r>
            <a:r>
              <a:rPr lang="fi-FI" sz="1400" dirty="0"/>
              <a:t> to </a:t>
            </a:r>
            <a:r>
              <a:rPr lang="fi-FI" sz="1400" dirty="0" err="1"/>
              <a:t>multiple</a:t>
            </a:r>
            <a:r>
              <a:rPr lang="fi-FI" sz="1400" dirty="0"/>
              <a:t> </a:t>
            </a:r>
            <a:r>
              <a:rPr lang="fi-FI" sz="1400" dirty="0" err="1"/>
              <a:t>teams</a:t>
            </a:r>
            <a:endParaRPr lang="fi-FI" sz="1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614DED6-7AAE-814B-985F-69CB9BEBE2DA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133840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076" y="113094"/>
            <a:ext cx="8450132" cy="857250"/>
          </a:xfrm>
        </p:spPr>
        <p:txBody>
          <a:bodyPr>
            <a:normAutofit/>
          </a:bodyPr>
          <a:lstStyle/>
          <a:p>
            <a:r>
              <a:rPr lang="en-US" dirty="0"/>
              <a:t>World full of choices - opportunity or threat?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7F1E4F-1CFF-5643-939E-217C01CDF565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FD1848-BA48-9344-8D70-C950B002811C}"/>
              </a:ext>
            </a:extLst>
          </p:cNvPr>
          <p:cNvSpPr/>
          <p:nvPr/>
        </p:nvSpPr>
        <p:spPr>
          <a:xfrm>
            <a:off x="221147" y="4475856"/>
            <a:ext cx="844014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…and this is only the technology stack part. </a:t>
            </a:r>
          </a:p>
          <a:p>
            <a:endParaRPr lang="en-US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34B0BBBD-4A9F-9A47-9B93-666B9541B6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3204000"/>
              </p:ext>
            </p:extLst>
          </p:nvPr>
        </p:nvGraphicFramePr>
        <p:xfrm>
          <a:off x="531812" y="782382"/>
          <a:ext cx="828866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E8A40F40-550F-BB40-9BA8-6735129CEE3E}"/>
              </a:ext>
            </a:extLst>
          </p:cNvPr>
          <p:cNvSpPr txBox="1"/>
          <p:nvPr/>
        </p:nvSpPr>
        <p:spPr>
          <a:xfrm>
            <a:off x="0" y="-2395"/>
            <a:ext cx="1756571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Technology </a:t>
            </a:r>
            <a:r>
              <a:rPr lang="fi-FI" sz="1400" dirty="0" err="1"/>
              <a:t>aspects</a:t>
            </a:r>
            <a:endParaRPr lang="fi-FI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B64526-BF58-954E-A05E-96A1F9551EA2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3204575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562CE1-0994-1B44-9EE9-ECBC5AB11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sz="3200" dirty="0"/>
              <a:t>Distributed Product </a:t>
            </a:r>
            <a:r>
              <a:rPr lang="fi-FI" sz="3200" dirty="0" err="1"/>
              <a:t>Development</a:t>
            </a:r>
            <a:r>
              <a:rPr lang="fi-FI" sz="3200" dirty="0"/>
              <a:t> </a:t>
            </a:r>
            <a:br>
              <a:rPr lang="fi-FI" sz="3200" dirty="0"/>
            </a:br>
            <a:r>
              <a:rPr lang="fi-FI" sz="2000" dirty="0" err="1"/>
              <a:t>Fragments</a:t>
            </a:r>
            <a:r>
              <a:rPr lang="fi-FI" sz="2000" dirty="0"/>
              <a:t> In My </a:t>
            </a:r>
            <a:r>
              <a:rPr lang="fi-FI" sz="2000" dirty="0" err="1"/>
              <a:t>Story</a:t>
            </a:r>
            <a:br>
              <a:rPr lang="fi-FI" sz="3200" dirty="0"/>
            </a:br>
            <a:endParaRPr lang="fi-FI" dirty="0"/>
          </a:p>
        </p:txBody>
      </p:sp>
      <p:pic>
        <p:nvPicPr>
          <p:cNvPr id="9" name="Content Placeholder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4D5C4570-79A1-034E-ABF1-CFF5379E09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11194" y="2355726"/>
            <a:ext cx="9108504" cy="2343633"/>
          </a:xfr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746251F-BC9A-9140-81BB-404D34A1D7E7}"/>
              </a:ext>
            </a:extLst>
          </p:cNvPr>
          <p:cNvSpPr/>
          <p:nvPr/>
        </p:nvSpPr>
        <p:spPr>
          <a:xfrm>
            <a:off x="280800" y="771550"/>
            <a:ext cx="85824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Building,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improving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and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leading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distributed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product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development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organisation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in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agil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over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long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term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is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multifaceted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challeng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. </a:t>
            </a:r>
          </a:p>
          <a:p>
            <a:endParaRPr lang="fi-FI" sz="1200" b="1" dirty="0">
              <a:solidFill>
                <a:srgbClr val="212529"/>
              </a:solidFill>
              <a:latin typeface="-apple-system"/>
            </a:endParaRPr>
          </a:p>
          <a:p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Ways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of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working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together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and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emergenc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of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common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culture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over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geographical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borders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,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leading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th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development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and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setting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and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following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common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goals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ar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all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important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factors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.</a:t>
            </a:r>
          </a:p>
          <a:p>
            <a:endParaRPr lang="fi-FI" sz="1200" b="1" dirty="0">
              <a:solidFill>
                <a:srgbClr val="212529"/>
              </a:solidFill>
              <a:latin typeface="-apple-system"/>
            </a:endParaRPr>
          </a:p>
          <a:p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Over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th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journey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agil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,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lean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, team of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teams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,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estimation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practices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, CI, 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common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situational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view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and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th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usag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of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both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technology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and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partners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have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developed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and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been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elements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 of team </a:t>
            </a:r>
            <a:r>
              <a:rPr lang="fi-FI" sz="1200" b="1" dirty="0" err="1">
                <a:solidFill>
                  <a:srgbClr val="212529"/>
                </a:solidFill>
                <a:latin typeface="-apple-system"/>
              </a:rPr>
              <a:t>success</a:t>
            </a:r>
            <a:r>
              <a:rPr lang="fi-FI" sz="1200" b="1" dirty="0">
                <a:solidFill>
                  <a:srgbClr val="212529"/>
                </a:solidFill>
                <a:latin typeface="-apple-system"/>
              </a:rPr>
              <a:t>. </a:t>
            </a:r>
          </a:p>
          <a:p>
            <a:endParaRPr lang="fi-FI" sz="1200" dirty="0">
              <a:effectLst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EB0481-CD2C-1C49-A5B0-A51613A78B66}"/>
              </a:ext>
            </a:extLst>
          </p:cNvPr>
          <p:cNvSpPr/>
          <p:nvPr/>
        </p:nvSpPr>
        <p:spPr>
          <a:xfrm>
            <a:off x="7164288" y="4948014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98239195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2015-05-18_23-49-17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52" y="821666"/>
            <a:ext cx="9022779" cy="399446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31640" y="4515966"/>
            <a:ext cx="5813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00.000+ JavaScript Repositories</a:t>
            </a:r>
          </a:p>
          <a:p>
            <a:r>
              <a:rPr lang="en-US" dirty="0"/>
              <a:t>200.000+ Java Repositori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914A59A-3309-324F-B830-9DD375B9E39C}"/>
              </a:ext>
            </a:extLst>
          </p:cNvPr>
          <p:cNvSpPr/>
          <p:nvPr/>
        </p:nvSpPr>
        <p:spPr>
          <a:xfrm>
            <a:off x="6156176" y="4749246"/>
            <a:ext cx="15392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based on 2014 data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63AD3FB-51A3-7B4C-93DE-A32BB4251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326" y="110599"/>
            <a:ext cx="8450132" cy="857250"/>
          </a:xfrm>
        </p:spPr>
        <p:txBody>
          <a:bodyPr>
            <a:normAutofit/>
          </a:bodyPr>
          <a:lstStyle/>
          <a:p>
            <a:r>
              <a:rPr lang="en-US" sz="2800" dirty="0"/>
              <a:t>World full of choices - opportunity or threat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273511-CDAD-E840-846A-39373201DBFE}"/>
              </a:ext>
            </a:extLst>
          </p:cNvPr>
          <p:cNvSpPr txBox="1"/>
          <p:nvPr/>
        </p:nvSpPr>
        <p:spPr>
          <a:xfrm>
            <a:off x="0" y="-2395"/>
            <a:ext cx="1756571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Technology </a:t>
            </a:r>
            <a:r>
              <a:rPr lang="fi-FI" sz="1400" dirty="0" err="1"/>
              <a:t>aspects</a:t>
            </a:r>
            <a:endParaRPr lang="fi-FI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275812-6F09-864C-92D9-85FD9411E84B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962342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81208" y="813190"/>
            <a:ext cx="611647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/>
              <a:t>“Don’t do your own </a:t>
            </a:r>
          </a:p>
          <a:p>
            <a:r>
              <a:rPr lang="en-US" sz="2400" dirty="0"/>
              <a:t>	undifferentiated heavy lifting” </a:t>
            </a:r>
          </a:p>
          <a:p>
            <a:pPr algn="r"/>
            <a:r>
              <a:rPr lang="en-US" sz="2400" dirty="0"/>
              <a:t>-Netflix</a:t>
            </a:r>
          </a:p>
        </p:txBody>
      </p:sp>
      <p:sp>
        <p:nvSpPr>
          <p:cNvPr id="5" name="Rectangle 4"/>
          <p:cNvSpPr/>
          <p:nvPr/>
        </p:nvSpPr>
        <p:spPr>
          <a:xfrm>
            <a:off x="1231565" y="2219459"/>
            <a:ext cx="753082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/>
              <a:t>Don’t invent integration </a:t>
            </a:r>
          </a:p>
          <a:p>
            <a:r>
              <a:rPr lang="en-US" sz="2400" dirty="0"/>
              <a:t>	use Enterprise Integration Patterns</a:t>
            </a:r>
          </a:p>
          <a:p>
            <a:r>
              <a:rPr lang="en-US" sz="2400" dirty="0"/>
              <a:t>		http://</a:t>
            </a:r>
            <a:r>
              <a:rPr lang="en-US" sz="2400" dirty="0" err="1"/>
              <a:t>www.enterpriseintegrationpatterns.com</a:t>
            </a:r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50E083-787C-FD4D-AB0E-2DDE59B6A4CE}"/>
              </a:ext>
            </a:extLst>
          </p:cNvPr>
          <p:cNvSpPr txBox="1"/>
          <p:nvPr/>
        </p:nvSpPr>
        <p:spPr>
          <a:xfrm>
            <a:off x="0" y="-2395"/>
            <a:ext cx="1756571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Technology </a:t>
            </a:r>
            <a:r>
              <a:rPr lang="fi-FI" sz="1400" dirty="0" err="1"/>
              <a:t>aspects</a:t>
            </a:r>
            <a:endParaRPr lang="fi-FI" sz="1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F97CC-B250-6A48-B413-5EC5D0D3125E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01300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o not build without a really good reason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172" y="1200152"/>
            <a:ext cx="8229600" cy="3705748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ü"/>
            </a:pPr>
            <a:r>
              <a:rPr lang="en-US" dirty="0"/>
              <a:t>Queue (for example to a database)</a:t>
            </a:r>
          </a:p>
          <a:p>
            <a:pPr>
              <a:buFont typeface="Wingdings" pitchFamily="2" charset="2"/>
              <a:buChar char="ü"/>
            </a:pPr>
            <a:r>
              <a:rPr lang="en-US" dirty="0"/>
              <a:t>Workflow – engine</a:t>
            </a:r>
          </a:p>
          <a:p>
            <a:pPr>
              <a:buFont typeface="Wingdings" pitchFamily="2" charset="2"/>
              <a:buChar char="ü"/>
            </a:pPr>
            <a:r>
              <a:rPr lang="en-US" dirty="0"/>
              <a:t>Enterprise Integration Bus solution</a:t>
            </a:r>
          </a:p>
          <a:p>
            <a:pPr>
              <a:buFont typeface="Wingdings" pitchFamily="2" charset="2"/>
              <a:buChar char="ü"/>
            </a:pPr>
            <a:r>
              <a:rPr lang="en-US" dirty="0"/>
              <a:t>Full </a:t>
            </a:r>
            <a:r>
              <a:rPr lang="en-US" dirty="0" err="1"/>
              <a:t>Javascript</a:t>
            </a:r>
            <a:r>
              <a:rPr lang="en-US" dirty="0"/>
              <a:t> UI framework</a:t>
            </a:r>
          </a:p>
          <a:p>
            <a:pPr>
              <a:buFont typeface="Wingdings" pitchFamily="2" charset="2"/>
              <a:buChar char="ü"/>
            </a:pPr>
            <a:r>
              <a:rPr lang="en-US" dirty="0"/>
              <a:t>Own </a:t>
            </a:r>
            <a:r>
              <a:rPr lang="en-US" dirty="0" err="1"/>
              <a:t>tx</a:t>
            </a:r>
            <a:r>
              <a:rPr lang="en-US" dirty="0"/>
              <a:t> solution on top of NoSQL</a:t>
            </a:r>
          </a:p>
          <a:p>
            <a:pPr>
              <a:buFont typeface="Wingdings" pitchFamily="2" charset="2"/>
              <a:buChar char="ü"/>
            </a:pPr>
            <a:r>
              <a:rPr lang="en-US" dirty="0"/>
              <a:t>Reporting engine</a:t>
            </a:r>
          </a:p>
          <a:p>
            <a:pPr>
              <a:buFont typeface="Wingdings" pitchFamily="2" charset="2"/>
              <a:buChar char="ü"/>
            </a:pPr>
            <a:r>
              <a:rPr lang="en-US" dirty="0"/>
              <a:t>Persistence framework</a:t>
            </a:r>
          </a:p>
          <a:p>
            <a:pPr>
              <a:buFont typeface="Wingdings" pitchFamily="2" charset="2"/>
              <a:buChar char="ü"/>
            </a:pPr>
            <a:r>
              <a:rPr lang="en-US" dirty="0"/>
              <a:t>Rules engine</a:t>
            </a:r>
          </a:p>
          <a:p>
            <a:pPr>
              <a:buFont typeface="Wingdings" pitchFamily="2" charset="2"/>
              <a:buChar char="ü"/>
            </a:pPr>
            <a:r>
              <a:rPr lang="en-US" dirty="0"/>
              <a:t>Deployment framework</a:t>
            </a:r>
          </a:p>
          <a:p>
            <a:pPr>
              <a:buFont typeface="Wingdings" pitchFamily="2" charset="2"/>
              <a:buChar char="ü"/>
            </a:pPr>
            <a:r>
              <a:rPr lang="en-US" dirty="0"/>
              <a:t>…and there are other utility / framework categories…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60A93E-0C9D-9641-988B-159CE95CA371}"/>
              </a:ext>
            </a:extLst>
          </p:cNvPr>
          <p:cNvSpPr txBox="1"/>
          <p:nvPr/>
        </p:nvSpPr>
        <p:spPr>
          <a:xfrm>
            <a:off x="0" y="-2395"/>
            <a:ext cx="1756571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Technology </a:t>
            </a:r>
            <a:r>
              <a:rPr lang="fi-FI" sz="1400" dirty="0" err="1"/>
              <a:t>aspects</a:t>
            </a:r>
            <a:endParaRPr lang="fi-FI" sz="1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23AED7F-1385-174A-BCB7-2B0B22E1AB78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276355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644" y="205979"/>
            <a:ext cx="8755533" cy="857250"/>
          </a:xfrm>
        </p:spPr>
        <p:txBody>
          <a:bodyPr>
            <a:normAutofit/>
          </a:bodyPr>
          <a:lstStyle/>
          <a:p>
            <a:r>
              <a:rPr lang="en-US" sz="2800" dirty="0"/>
              <a:t>Consider with care do you really want t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579" y="987574"/>
            <a:ext cx="4509268" cy="4561508"/>
          </a:xfrm>
        </p:spPr>
        <p:txBody>
          <a:bodyPr>
            <a:normAutofit/>
          </a:bodyPr>
          <a:lstStyle/>
          <a:p>
            <a:pPr lvl="1"/>
            <a:r>
              <a:rPr lang="en-US" sz="1400" dirty="0"/>
              <a:t>Use commercial framework</a:t>
            </a:r>
          </a:p>
          <a:p>
            <a:pPr lvl="1"/>
            <a:r>
              <a:rPr lang="en-US" sz="1400" dirty="0"/>
              <a:t>Build your own framework</a:t>
            </a:r>
          </a:p>
          <a:p>
            <a:pPr lvl="1"/>
            <a:r>
              <a:rPr lang="en-US" sz="1400" dirty="0"/>
              <a:t>Take into use</a:t>
            </a:r>
          </a:p>
          <a:p>
            <a:pPr lvl="2"/>
            <a:r>
              <a:rPr lang="en-US" sz="1400" dirty="0"/>
              <a:t>consultant company’s own framework</a:t>
            </a:r>
          </a:p>
          <a:p>
            <a:pPr lvl="2"/>
            <a:r>
              <a:rPr lang="en-US" sz="1400" dirty="0"/>
              <a:t>large open source FRAMEWORK</a:t>
            </a:r>
          </a:p>
          <a:p>
            <a:pPr lvl="2"/>
            <a:r>
              <a:rPr lang="en-US" sz="1400" dirty="0"/>
              <a:t>a new framework that does similar thing than an existing one</a:t>
            </a:r>
          </a:p>
          <a:p>
            <a:pPr lvl="2"/>
            <a:r>
              <a:rPr lang="en-US" sz="1400" dirty="0"/>
              <a:t>a second cloud</a:t>
            </a:r>
          </a:p>
          <a:p>
            <a:pPr lvl="2"/>
            <a:r>
              <a:rPr lang="en-US" sz="1400" dirty="0"/>
              <a:t>another database</a:t>
            </a:r>
          </a:p>
          <a:p>
            <a:pPr lvl="2"/>
            <a:r>
              <a:rPr lang="en-US" sz="1400" dirty="0"/>
              <a:t>ENTERPRISE version of anything</a:t>
            </a:r>
          </a:p>
          <a:p>
            <a:pPr marL="313200" lvl="1" indent="0">
              <a:buNone/>
            </a:pPr>
            <a:endParaRPr lang="en-US" sz="1400" dirty="0"/>
          </a:p>
        </p:txBody>
      </p:sp>
      <p:sp>
        <p:nvSpPr>
          <p:cNvPr id="4" name="TextBox 3"/>
          <p:cNvSpPr txBox="1"/>
          <p:nvPr/>
        </p:nvSpPr>
        <p:spPr>
          <a:xfrm>
            <a:off x="155747" y="3782258"/>
            <a:ext cx="8832505" cy="11695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92D050"/>
                </a:solidFill>
              </a:rPr>
              <a:t>Form “sufficient enough” approval method for components and frameworks to be taken into use. </a:t>
            </a:r>
          </a:p>
          <a:p>
            <a:pPr algn="ctr"/>
            <a:endParaRPr lang="en-US" sz="1400" dirty="0">
              <a:solidFill>
                <a:srgbClr val="92D050"/>
              </a:solidFill>
            </a:endParaRPr>
          </a:p>
          <a:p>
            <a:pPr algn="ctr"/>
            <a:r>
              <a:rPr lang="en-US" sz="1400" dirty="0">
                <a:solidFill>
                  <a:srgbClr val="92D050"/>
                </a:solidFill>
              </a:rPr>
              <a:t>Approve beforehand. </a:t>
            </a:r>
          </a:p>
          <a:p>
            <a:pPr algn="ctr"/>
            <a:endParaRPr lang="en-US" sz="1400" dirty="0">
              <a:solidFill>
                <a:srgbClr val="92D050"/>
              </a:solidFill>
            </a:endParaRPr>
          </a:p>
          <a:p>
            <a:pPr algn="ctr"/>
            <a:r>
              <a:rPr lang="en-US" sz="1400" dirty="0">
                <a:solidFill>
                  <a:srgbClr val="92D050"/>
                </a:solidFill>
              </a:rPr>
              <a:t>Follow </a:t>
            </a:r>
            <a:r>
              <a:rPr lang="en-US" sz="1400" dirty="0" err="1">
                <a:solidFill>
                  <a:srgbClr val="92D050"/>
                </a:solidFill>
              </a:rPr>
              <a:t>ThoughtWorks</a:t>
            </a:r>
            <a:r>
              <a:rPr lang="en-US" sz="1400" dirty="0">
                <a:solidFill>
                  <a:srgbClr val="92D050"/>
                </a:solidFill>
              </a:rPr>
              <a:t> Tech Radar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72001" y="987574"/>
            <a:ext cx="4472176" cy="3117001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Tx/>
              <a:buNone/>
              <a:defRPr sz="1600" b="1" i="0" kern="1200" spc="0">
                <a:solidFill>
                  <a:schemeClr val="accent1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8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1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accent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600" b="0" i="0" kern="1200" baseline="0">
                <a:solidFill>
                  <a:schemeClr val="accent1"/>
                </a:solidFill>
                <a:latin typeface="Arial"/>
                <a:ea typeface="+mn-ea"/>
                <a:cs typeface="Arial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900" b="1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900" b="1" i="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 baseline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b="0" dirty="0">
                <a:solidFill>
                  <a:schemeClr val="tx1"/>
                </a:solidFill>
              </a:rPr>
              <a:t>Take into use 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5600" b="0" dirty="0">
                <a:solidFill>
                  <a:schemeClr val="tx1"/>
                </a:solidFill>
                <a:latin typeface="+mn-lt"/>
                <a:cs typeface="+mn-cs"/>
              </a:rPr>
              <a:t>opensource library that is rare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5600" b="0" dirty="0">
                <a:solidFill>
                  <a:schemeClr val="tx1"/>
                </a:solidFill>
                <a:latin typeface="+mn-lt"/>
                <a:cs typeface="+mn-cs"/>
              </a:rPr>
              <a:t>a generator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5600" b="0" dirty="0">
                <a:solidFill>
                  <a:schemeClr val="tx1"/>
                </a:solidFill>
              </a:rPr>
              <a:t>commercial test framework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5600" b="0" dirty="0">
                <a:solidFill>
                  <a:schemeClr val="tx1"/>
                </a:solidFill>
              </a:rPr>
              <a:t>framework with no upgrade path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5600" b="0" dirty="0">
                <a:solidFill>
                  <a:schemeClr val="tx1"/>
                </a:solidFill>
              </a:rPr>
              <a:t>NoSQL database for product that needs lots of </a:t>
            </a:r>
            <a:r>
              <a:rPr lang="en-US" sz="5600" b="0" dirty="0" err="1">
                <a:solidFill>
                  <a:schemeClr val="tx1"/>
                </a:solidFill>
              </a:rPr>
              <a:t>adhoc</a:t>
            </a:r>
            <a:r>
              <a:rPr lang="en-US" sz="5600" b="0" dirty="0">
                <a:solidFill>
                  <a:schemeClr val="tx1"/>
                </a:solidFill>
              </a:rPr>
              <a:t> reporting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endParaRPr lang="en-US" sz="6000" dirty="0">
              <a:solidFill>
                <a:schemeClr val="tx1"/>
              </a:solidFill>
            </a:endParaRPr>
          </a:p>
          <a:p>
            <a:r>
              <a:rPr lang="en-US" sz="6000" dirty="0">
                <a:solidFill>
                  <a:schemeClr val="tx1"/>
                </a:solidFill>
              </a:rPr>
              <a:t>Have libraries, products, tools that are older than 1-2 years</a:t>
            </a:r>
          </a:p>
          <a:p>
            <a:pPr lvl="1"/>
            <a:endParaRPr lang="en-US" sz="5600" dirty="0"/>
          </a:p>
          <a:p>
            <a:pPr lvl="1"/>
            <a:endParaRPr lang="en-US" sz="5600" dirty="0"/>
          </a:p>
          <a:p>
            <a:r>
              <a:rPr lang="en-US" sz="56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D3DFFA-2E10-8346-AA66-A2F4383C4E3A}"/>
              </a:ext>
            </a:extLst>
          </p:cNvPr>
          <p:cNvSpPr txBox="1"/>
          <p:nvPr/>
        </p:nvSpPr>
        <p:spPr>
          <a:xfrm>
            <a:off x="0" y="-2395"/>
            <a:ext cx="1756571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Technology </a:t>
            </a:r>
            <a:r>
              <a:rPr lang="fi-FI" sz="1400" dirty="0" err="1"/>
              <a:t>aspects</a:t>
            </a:r>
            <a:endParaRPr lang="fi-FI" sz="1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794A29-F0FB-E044-8E67-4780D29BF455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212982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359" y="348891"/>
            <a:ext cx="8510400" cy="738000"/>
          </a:xfrm>
        </p:spPr>
        <p:txBody>
          <a:bodyPr>
            <a:noAutofit/>
          </a:bodyPr>
          <a:lstStyle/>
          <a:p>
            <a:r>
              <a:rPr lang="en-US" sz="2800" dirty="0"/>
              <a:t>Think about lifetime of your system (applications and application portfolio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775500"/>
          </a:xfrm>
        </p:spPr>
        <p:txBody>
          <a:bodyPr>
            <a:normAutofit/>
          </a:bodyPr>
          <a:lstStyle/>
          <a:p>
            <a:pPr marL="285743" indent="-285743">
              <a:buFont typeface="Arial"/>
              <a:buChar char="•"/>
            </a:pPr>
            <a:r>
              <a:rPr lang="en-US" dirty="0"/>
              <a:t>Ensure understanding of the solution in house from architects to production</a:t>
            </a:r>
          </a:p>
          <a:p>
            <a:pPr marL="580943" lvl="1" indent="-285743">
              <a:buFont typeface="Arial"/>
              <a:buChar char="•"/>
            </a:pPr>
            <a:r>
              <a:rPr lang="en-US" dirty="0"/>
              <a:t>Is your tech solution unique one – Why? Really – Why? Why…</a:t>
            </a:r>
          </a:p>
          <a:p>
            <a:pPr marL="580943" lvl="1" indent="-285743">
              <a:buFont typeface="Arial"/>
              <a:buChar char="•"/>
            </a:pPr>
            <a:r>
              <a:rPr lang="en-US" dirty="0"/>
              <a:t>Ensure availability of skills from several vendors / market</a:t>
            </a:r>
          </a:p>
          <a:p>
            <a:pPr marL="580943" lvl="1" indent="-285743">
              <a:buFont typeface="Arial"/>
              <a:buChar char="•"/>
            </a:pPr>
            <a:endParaRPr lang="en-US" dirty="0"/>
          </a:p>
          <a:p>
            <a:r>
              <a:rPr lang="en-US" dirty="0"/>
              <a:t>Right amount of moving parts. For each purpose approximately one solution, at most two. </a:t>
            </a:r>
          </a:p>
          <a:p>
            <a:pPr lvl="1"/>
            <a:r>
              <a:rPr lang="en-US" dirty="0"/>
              <a:t>Beware “Flavor of the day”, Cool tech to consultant CV or real competitive advantage (productivity, time to market)</a:t>
            </a:r>
          </a:p>
          <a:p>
            <a:pPr marL="580943" lvl="1" indent="-285743">
              <a:buFont typeface="Arial"/>
              <a:buChar char="•"/>
            </a:pPr>
            <a:r>
              <a:rPr lang="en-US" dirty="0"/>
              <a:t>Security – more you have components, more you need to update</a:t>
            </a:r>
          </a:p>
          <a:p>
            <a:pPr marL="580943" lvl="1" indent="-285743">
              <a:buFont typeface="Arial"/>
              <a:buChar char="•"/>
            </a:pPr>
            <a:r>
              <a:rPr lang="en-US" dirty="0"/>
              <a:t>Think about skill needs, maintenance and support of your moving parts…</a:t>
            </a:r>
          </a:p>
          <a:p>
            <a:pPr marL="285743" indent="-285743">
              <a:buFont typeface="Arial"/>
              <a:buChar char="•"/>
            </a:pPr>
            <a:endParaRPr lang="en-US" dirty="0"/>
          </a:p>
          <a:p>
            <a:pPr marL="285743" indent="-285743">
              <a:buFont typeface="Arial"/>
              <a:buChar char="•"/>
            </a:pPr>
            <a:r>
              <a:rPr lang="en-US" dirty="0"/>
              <a:t>Scalability: what means – plus 50% plus 100% plus 1000% increase to estimated usage</a:t>
            </a:r>
          </a:p>
          <a:p>
            <a:pPr marL="742931" lvl="1" indent="-285743">
              <a:buFont typeface="Arial"/>
              <a:buChar char="•"/>
            </a:pPr>
            <a:r>
              <a:rPr lang="en-US" sz="1500" dirty="0">
                <a:solidFill>
                  <a:schemeClr val="tx2"/>
                </a:solidFill>
              </a:rPr>
              <a:t>Machines, memory, </a:t>
            </a:r>
            <a:r>
              <a:rPr lang="en-US" sz="1500" dirty="0" err="1">
                <a:solidFill>
                  <a:schemeClr val="tx2"/>
                </a:solidFill>
              </a:rPr>
              <a:t>cpu</a:t>
            </a:r>
            <a:r>
              <a:rPr lang="en-US" sz="1500" dirty="0">
                <a:solidFill>
                  <a:schemeClr val="tx2"/>
                </a:solidFill>
              </a:rPr>
              <a:t>, disks, licenses</a:t>
            </a:r>
            <a:endParaRPr lang="en-US" dirty="0">
              <a:solidFill>
                <a:schemeClr val="tx2"/>
              </a:solidFill>
            </a:endParaRPr>
          </a:p>
          <a:p>
            <a:endParaRPr lang="en-US" dirty="0">
              <a:solidFill>
                <a:schemeClr val="tx2"/>
              </a:solidFill>
            </a:endParaRP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6731F4-DB73-1147-8921-2EFD6546FC93}"/>
              </a:ext>
            </a:extLst>
          </p:cNvPr>
          <p:cNvSpPr txBox="1"/>
          <p:nvPr/>
        </p:nvSpPr>
        <p:spPr>
          <a:xfrm>
            <a:off x="0" y="-2395"/>
            <a:ext cx="1756571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/>
              <a:t>Technology </a:t>
            </a:r>
            <a:r>
              <a:rPr lang="fi-FI" sz="1400" dirty="0" err="1"/>
              <a:t>aspects</a:t>
            </a:r>
            <a:endParaRPr lang="fi-FI" sz="1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EEC9BD-D557-424E-9228-635301D7B36C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170812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60AC8-1CA1-A74B-9FD7-20999FA34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" sz="2800" dirty="0"/>
              <a:t>Predictability - </a:t>
            </a:r>
            <a:r>
              <a:rPr lang="fi-FI" sz="2800" dirty="0" err="1"/>
              <a:t>Ways</a:t>
            </a:r>
            <a:r>
              <a:rPr lang="fi-FI" sz="2800" dirty="0"/>
              <a:t> to </a:t>
            </a:r>
            <a:r>
              <a:rPr lang="fi-FI" sz="2800" dirty="0" err="1"/>
              <a:t>keep</a:t>
            </a:r>
            <a:r>
              <a:rPr lang="fi-FI" sz="2800" dirty="0"/>
              <a:t> </a:t>
            </a:r>
            <a:r>
              <a:rPr lang="fi-FI" sz="2800" dirty="0" err="1"/>
              <a:t>your</a:t>
            </a:r>
            <a:r>
              <a:rPr lang="fi-FI" sz="2800" dirty="0"/>
              <a:t> </a:t>
            </a:r>
            <a:r>
              <a:rPr lang="fi-FI" sz="2800" dirty="0" err="1"/>
              <a:t>promises</a:t>
            </a:r>
            <a:endParaRPr lang="fi-FI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EC589A-28FC-F645-84CA-74D6BEA8D6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889622"/>
          </a:xfrm>
        </p:spPr>
        <p:txBody>
          <a:bodyPr>
            <a:normAutofit/>
          </a:bodyPr>
          <a:lstStyle/>
          <a:p>
            <a:pPr lvl="1"/>
            <a:r>
              <a:rPr lang="fi-FI" sz="1400" dirty="0" err="1"/>
              <a:t>Keep</a:t>
            </a:r>
            <a:r>
              <a:rPr lang="fi-FI" sz="1400" dirty="0"/>
              <a:t> </a:t>
            </a:r>
            <a:r>
              <a:rPr lang="fi-FI" sz="1400" dirty="0" err="1"/>
              <a:t>sprints</a:t>
            </a:r>
            <a:r>
              <a:rPr lang="fi-FI" sz="1400" dirty="0"/>
              <a:t> </a:t>
            </a:r>
            <a:r>
              <a:rPr lang="fi-FI" sz="1400" dirty="0" err="1"/>
              <a:t>short</a:t>
            </a:r>
            <a:endParaRPr lang="fi-FI" sz="1400" dirty="0"/>
          </a:p>
          <a:p>
            <a:pPr lvl="2"/>
            <a:r>
              <a:rPr lang="fi-FI" sz="1050" dirty="0"/>
              <a:t>One </a:t>
            </a:r>
            <a:r>
              <a:rPr lang="fi-FI" sz="1050" dirty="0" err="1"/>
              <a:t>week</a:t>
            </a:r>
            <a:r>
              <a:rPr lang="fi-FI" sz="1050" dirty="0"/>
              <a:t>. Can </a:t>
            </a:r>
            <a:r>
              <a:rPr lang="fi-FI" sz="1050" dirty="0" err="1"/>
              <a:t>be</a:t>
            </a:r>
            <a:r>
              <a:rPr lang="fi-FI" sz="1050" dirty="0"/>
              <a:t> </a:t>
            </a:r>
            <a:r>
              <a:rPr lang="fi-FI" sz="1050" dirty="0" err="1"/>
              <a:t>done</a:t>
            </a:r>
            <a:r>
              <a:rPr lang="fi-FI" sz="1050" dirty="0"/>
              <a:t> to at </a:t>
            </a:r>
            <a:r>
              <a:rPr lang="fi-FI" sz="1050" dirty="0" err="1"/>
              <a:t>least</a:t>
            </a:r>
            <a:r>
              <a:rPr lang="fi-FI" sz="1050" dirty="0"/>
              <a:t> 100+ team </a:t>
            </a:r>
            <a:r>
              <a:rPr lang="fi-FI" sz="1050" dirty="0" err="1"/>
              <a:t>size</a:t>
            </a:r>
            <a:endParaRPr lang="fi-FI" sz="1050" dirty="0"/>
          </a:p>
          <a:p>
            <a:pPr lvl="1"/>
            <a:endParaRPr lang="fi-FI" sz="1400" dirty="0"/>
          </a:p>
          <a:p>
            <a:pPr lvl="1"/>
            <a:r>
              <a:rPr lang="fi-FI" sz="1400" dirty="0"/>
              <a:t>Definition of </a:t>
            </a:r>
            <a:r>
              <a:rPr lang="fi-FI" sz="1400" dirty="0" err="1"/>
              <a:t>done</a:t>
            </a:r>
            <a:r>
              <a:rPr lang="fi-FI" sz="1400" dirty="0"/>
              <a:t> – </a:t>
            </a:r>
            <a:r>
              <a:rPr lang="fi-FI" sz="1400" dirty="0" err="1"/>
              <a:t>crisp</a:t>
            </a:r>
            <a:r>
              <a:rPr lang="fi-FI" sz="1400" dirty="0"/>
              <a:t> and </a:t>
            </a:r>
            <a:r>
              <a:rPr lang="fi-FI" sz="1400" dirty="0" err="1"/>
              <a:t>followed</a:t>
            </a:r>
            <a:r>
              <a:rPr lang="fi-FI" sz="1400" dirty="0"/>
              <a:t>. </a:t>
            </a:r>
          </a:p>
          <a:p>
            <a:pPr lvl="1"/>
            <a:endParaRPr lang="fi-FI" sz="1400" dirty="0"/>
          </a:p>
          <a:p>
            <a:pPr lvl="1"/>
            <a:r>
              <a:rPr lang="fi-FI" sz="1400" dirty="0" err="1"/>
              <a:t>Keep</a:t>
            </a:r>
            <a:r>
              <a:rPr lang="fi-FI" sz="1400" dirty="0"/>
              <a:t> </a:t>
            </a:r>
            <a:r>
              <a:rPr lang="fi-FI" sz="1400" dirty="0" err="1"/>
              <a:t>stories</a:t>
            </a:r>
            <a:r>
              <a:rPr lang="fi-FI" sz="1400" dirty="0"/>
              <a:t> </a:t>
            </a:r>
            <a:r>
              <a:rPr lang="fi-FI" sz="1400" dirty="0" err="1"/>
              <a:t>small</a:t>
            </a:r>
            <a:r>
              <a:rPr lang="fi-FI" sz="1400" dirty="0"/>
              <a:t> – </a:t>
            </a:r>
            <a:r>
              <a:rPr lang="fi-FI" sz="1400" dirty="0" err="1"/>
              <a:t>many</a:t>
            </a:r>
            <a:r>
              <a:rPr lang="fi-FI" sz="1400" dirty="0"/>
              <a:t> per </a:t>
            </a:r>
            <a:r>
              <a:rPr lang="fi-FI" sz="1400" dirty="0" err="1"/>
              <a:t>sprint</a:t>
            </a:r>
            <a:r>
              <a:rPr lang="fi-FI" sz="1400" dirty="0"/>
              <a:t>. </a:t>
            </a:r>
          </a:p>
          <a:p>
            <a:pPr lvl="2"/>
            <a:r>
              <a:rPr lang="fi-FI" sz="1050" dirty="0"/>
              <a:t>3+ per team per </a:t>
            </a:r>
            <a:r>
              <a:rPr lang="fi-FI" sz="1050" dirty="0" err="1"/>
              <a:t>sprint</a:t>
            </a:r>
            <a:r>
              <a:rPr lang="fi-FI" sz="1050" dirty="0"/>
              <a:t> at </a:t>
            </a:r>
            <a:r>
              <a:rPr lang="fi-FI" sz="1050" dirty="0" err="1"/>
              <a:t>minimum</a:t>
            </a:r>
            <a:r>
              <a:rPr lang="fi-FI" sz="1050" dirty="0"/>
              <a:t>. -&gt; </a:t>
            </a:r>
            <a:r>
              <a:rPr lang="fi-FI" sz="1050" dirty="0" err="1"/>
              <a:t>you</a:t>
            </a:r>
            <a:r>
              <a:rPr lang="fi-FI" sz="1050" dirty="0"/>
              <a:t> </a:t>
            </a:r>
            <a:r>
              <a:rPr lang="fi-FI" sz="1050" dirty="0" err="1"/>
              <a:t>will</a:t>
            </a:r>
            <a:r>
              <a:rPr lang="fi-FI" sz="1050" dirty="0"/>
              <a:t> </a:t>
            </a:r>
            <a:r>
              <a:rPr lang="fi-FI" sz="1050" dirty="0" err="1"/>
              <a:t>be</a:t>
            </a:r>
            <a:r>
              <a:rPr lang="fi-FI" sz="1050" dirty="0"/>
              <a:t> </a:t>
            </a:r>
            <a:r>
              <a:rPr lang="fi-FI" sz="1050" dirty="0" err="1"/>
              <a:t>able</a:t>
            </a:r>
            <a:r>
              <a:rPr lang="fi-FI" sz="1050" dirty="0"/>
              <a:t> to </a:t>
            </a:r>
            <a:r>
              <a:rPr lang="fi-FI" sz="1050" dirty="0" err="1"/>
              <a:t>deliver</a:t>
            </a:r>
            <a:r>
              <a:rPr lang="fi-FI" sz="1050" dirty="0"/>
              <a:t> at </a:t>
            </a:r>
            <a:r>
              <a:rPr lang="fi-FI" sz="1050" dirty="0" err="1"/>
              <a:t>least</a:t>
            </a:r>
            <a:r>
              <a:rPr lang="fi-FI" sz="1050" dirty="0"/>
              <a:t> </a:t>
            </a:r>
            <a:r>
              <a:rPr lang="fi-FI" sz="1050" dirty="0" err="1"/>
              <a:t>two</a:t>
            </a:r>
            <a:r>
              <a:rPr lang="fi-FI" sz="1050" dirty="0"/>
              <a:t> of </a:t>
            </a:r>
            <a:r>
              <a:rPr lang="fi-FI" sz="1050" dirty="0" err="1"/>
              <a:t>them</a:t>
            </a:r>
            <a:r>
              <a:rPr lang="fi-FI" sz="1050" dirty="0"/>
              <a:t>…</a:t>
            </a:r>
          </a:p>
          <a:p>
            <a:pPr lvl="2"/>
            <a:r>
              <a:rPr lang="fi-FI" sz="1050" dirty="0"/>
              <a:t>”</a:t>
            </a:r>
            <a:r>
              <a:rPr lang="fi-FI" sz="1050" dirty="0" err="1"/>
              <a:t>testing</a:t>
            </a:r>
            <a:r>
              <a:rPr lang="fi-FI" sz="1050" dirty="0"/>
              <a:t>”, ”</a:t>
            </a:r>
            <a:r>
              <a:rPr lang="fi-FI" sz="1050" dirty="0" err="1"/>
              <a:t>technical</a:t>
            </a:r>
            <a:r>
              <a:rPr lang="fi-FI" sz="1050" dirty="0"/>
              <a:t> </a:t>
            </a:r>
            <a:r>
              <a:rPr lang="fi-FI" sz="1050" dirty="0" err="1"/>
              <a:t>task</a:t>
            </a:r>
            <a:r>
              <a:rPr lang="fi-FI" sz="1050" dirty="0"/>
              <a:t>”, ”</a:t>
            </a:r>
            <a:r>
              <a:rPr lang="fi-FI" sz="1050" dirty="0" err="1"/>
              <a:t>refactoring</a:t>
            </a:r>
            <a:r>
              <a:rPr lang="fi-FI" sz="1050" dirty="0"/>
              <a:t>” </a:t>
            </a:r>
            <a:r>
              <a:rPr lang="fi-FI" sz="1050" dirty="0" err="1"/>
              <a:t>etc</a:t>
            </a:r>
            <a:r>
              <a:rPr lang="fi-FI" sz="1050" dirty="0"/>
              <a:t> is </a:t>
            </a:r>
            <a:r>
              <a:rPr lang="fi-FI" sz="1050" dirty="0" err="1"/>
              <a:t>not</a:t>
            </a:r>
            <a:r>
              <a:rPr lang="fi-FI" sz="1050" dirty="0"/>
              <a:t> </a:t>
            </a:r>
            <a:r>
              <a:rPr lang="fi-FI" sz="1050" dirty="0" err="1"/>
              <a:t>user</a:t>
            </a:r>
            <a:r>
              <a:rPr lang="fi-FI" sz="1050" dirty="0"/>
              <a:t> </a:t>
            </a:r>
            <a:r>
              <a:rPr lang="fi-FI" sz="1050" dirty="0" err="1"/>
              <a:t>story</a:t>
            </a:r>
            <a:r>
              <a:rPr lang="fi-FI" sz="1050" dirty="0"/>
              <a:t> </a:t>
            </a:r>
          </a:p>
          <a:p>
            <a:pPr lvl="2"/>
            <a:r>
              <a:rPr lang="fi-FI" sz="1050" dirty="0" err="1"/>
              <a:t>Do</a:t>
            </a:r>
            <a:r>
              <a:rPr lang="fi-FI" sz="1050" dirty="0"/>
              <a:t> </a:t>
            </a:r>
            <a:r>
              <a:rPr lang="fi-FI" sz="1050" dirty="0" err="1"/>
              <a:t>not</a:t>
            </a:r>
            <a:r>
              <a:rPr lang="fi-FI" sz="1050" dirty="0"/>
              <a:t> play </a:t>
            </a:r>
            <a:r>
              <a:rPr lang="fi-FI" sz="1050" dirty="0" err="1"/>
              <a:t>submarine</a:t>
            </a:r>
            <a:r>
              <a:rPr lang="fi-FI" sz="1050" dirty="0"/>
              <a:t> – </a:t>
            </a:r>
            <a:r>
              <a:rPr lang="fi-FI" sz="1050" dirty="0" err="1"/>
              <a:t>very</a:t>
            </a:r>
            <a:r>
              <a:rPr lang="fi-FI" sz="1050" dirty="0"/>
              <a:t> </a:t>
            </a:r>
            <a:r>
              <a:rPr lang="fi-FI" sz="1050" dirty="0" err="1"/>
              <a:t>very</a:t>
            </a:r>
            <a:r>
              <a:rPr lang="fi-FI" sz="1050" dirty="0"/>
              <a:t> </a:t>
            </a:r>
            <a:r>
              <a:rPr lang="fi-FI" sz="1050" dirty="0" err="1"/>
              <a:t>few</a:t>
            </a:r>
            <a:r>
              <a:rPr lang="fi-FI" sz="1050" dirty="0"/>
              <a:t> </a:t>
            </a:r>
            <a:r>
              <a:rPr lang="fi-FI" sz="1050" dirty="0" err="1"/>
              <a:t>big</a:t>
            </a:r>
            <a:r>
              <a:rPr lang="fi-FI" sz="1050" dirty="0"/>
              <a:t> </a:t>
            </a:r>
            <a:r>
              <a:rPr lang="fi-FI" sz="1050" dirty="0" err="1"/>
              <a:t>epics</a:t>
            </a:r>
            <a:r>
              <a:rPr lang="fi-FI" sz="1050" dirty="0"/>
              <a:t> </a:t>
            </a:r>
            <a:r>
              <a:rPr lang="fi-FI" sz="1050" dirty="0" err="1"/>
              <a:t>or</a:t>
            </a:r>
            <a:r>
              <a:rPr lang="fi-FI" sz="1050" dirty="0"/>
              <a:t> </a:t>
            </a:r>
            <a:r>
              <a:rPr lang="fi-FI" sz="1050" dirty="0" err="1"/>
              <a:t>stories</a:t>
            </a:r>
            <a:r>
              <a:rPr lang="fi-FI" sz="1050" dirty="0"/>
              <a:t>.  </a:t>
            </a:r>
          </a:p>
          <a:p>
            <a:pPr lvl="2"/>
            <a:r>
              <a:rPr lang="fi-FI" sz="1050" dirty="0"/>
              <a:t>Demo business </a:t>
            </a:r>
            <a:r>
              <a:rPr lang="fi-FI" sz="1050" dirty="0" err="1"/>
              <a:t>level</a:t>
            </a:r>
            <a:r>
              <a:rPr lang="fi-FI" sz="1050" dirty="0"/>
              <a:t> </a:t>
            </a:r>
            <a:r>
              <a:rPr lang="fi-FI" sz="1050" dirty="0" err="1"/>
              <a:t>understandable</a:t>
            </a:r>
            <a:r>
              <a:rPr lang="fi-FI" sz="1050" dirty="0"/>
              <a:t> </a:t>
            </a:r>
            <a:r>
              <a:rPr lang="fi-FI" sz="1050" dirty="0" err="1"/>
              <a:t>stories</a:t>
            </a:r>
            <a:r>
              <a:rPr lang="fi-FI" sz="1050" dirty="0"/>
              <a:t> </a:t>
            </a:r>
            <a:r>
              <a:rPr lang="fi-FI" sz="1050" dirty="0" err="1"/>
              <a:t>once</a:t>
            </a:r>
            <a:r>
              <a:rPr lang="fi-FI" sz="1050" dirty="0"/>
              <a:t> per </a:t>
            </a:r>
            <a:r>
              <a:rPr lang="fi-FI" sz="1050" dirty="0" err="1"/>
              <a:t>week</a:t>
            </a:r>
            <a:r>
              <a:rPr lang="fi-FI" sz="1050" dirty="0"/>
              <a:t> to </a:t>
            </a:r>
            <a:r>
              <a:rPr lang="fi-FI" sz="1050" dirty="0" err="1"/>
              <a:t>your</a:t>
            </a:r>
            <a:r>
              <a:rPr lang="fi-FI" sz="1050" dirty="0"/>
              <a:t> </a:t>
            </a:r>
            <a:r>
              <a:rPr lang="fi-FI" sz="1050" dirty="0" err="1"/>
              <a:t>stakeholders</a:t>
            </a:r>
            <a:endParaRPr lang="fi-FI" sz="1050" dirty="0"/>
          </a:p>
          <a:p>
            <a:pPr lvl="2"/>
            <a:r>
              <a:rPr lang="fi-FI" sz="1050" dirty="0" err="1"/>
              <a:t>Honor</a:t>
            </a:r>
            <a:r>
              <a:rPr lang="fi-FI" sz="1050" dirty="0"/>
              <a:t> </a:t>
            </a:r>
            <a:r>
              <a:rPr lang="fi-FI" sz="1050" dirty="0" err="1"/>
              <a:t>your</a:t>
            </a:r>
            <a:r>
              <a:rPr lang="fi-FI" sz="1050" dirty="0"/>
              <a:t> WIP </a:t>
            </a:r>
            <a:r>
              <a:rPr lang="fi-FI" sz="1050" dirty="0" err="1"/>
              <a:t>limits</a:t>
            </a:r>
            <a:endParaRPr lang="fi-FI" sz="1050" dirty="0"/>
          </a:p>
          <a:p>
            <a:pPr lvl="4"/>
            <a:r>
              <a:rPr lang="fi-FI" sz="1050" dirty="0" err="1"/>
              <a:t>Get</a:t>
            </a:r>
            <a:r>
              <a:rPr lang="fi-FI" sz="1050" dirty="0"/>
              <a:t> to </a:t>
            </a:r>
            <a:r>
              <a:rPr lang="fi-FI" sz="1050" dirty="0" err="1"/>
              <a:t>the</a:t>
            </a:r>
            <a:r>
              <a:rPr lang="fi-FI" sz="1050" dirty="0"/>
              <a:t> </a:t>
            </a:r>
            <a:r>
              <a:rPr lang="fi-FI" sz="1050" dirty="0" err="1"/>
              <a:t>rhythm</a:t>
            </a:r>
            <a:r>
              <a:rPr lang="fi-FI" sz="1050" dirty="0"/>
              <a:t>: Long </a:t>
            </a:r>
            <a:r>
              <a:rPr lang="fi-FI" sz="1050" dirty="0" err="1"/>
              <a:t>term</a:t>
            </a:r>
            <a:r>
              <a:rPr lang="fi-FI" sz="1050" dirty="0"/>
              <a:t> </a:t>
            </a:r>
            <a:r>
              <a:rPr lang="fi-FI" sz="1050" dirty="0" err="1"/>
              <a:t>weekly</a:t>
            </a:r>
            <a:r>
              <a:rPr lang="fi-FI" sz="1050" dirty="0"/>
              <a:t> </a:t>
            </a:r>
            <a:r>
              <a:rPr lang="fi-FI" sz="1050" dirty="0" err="1"/>
              <a:t>average</a:t>
            </a:r>
            <a:r>
              <a:rPr lang="fi-FI" sz="1050" dirty="0"/>
              <a:t> of </a:t>
            </a:r>
            <a:r>
              <a:rPr lang="fi-FI" sz="1050" dirty="0" err="1"/>
              <a:t>promised</a:t>
            </a:r>
            <a:r>
              <a:rPr lang="fi-FI" sz="1050" dirty="0"/>
              <a:t> </a:t>
            </a:r>
            <a:r>
              <a:rPr lang="fi-FI" sz="1050" dirty="0" err="1"/>
              <a:t>vs</a:t>
            </a:r>
            <a:r>
              <a:rPr lang="fi-FI" sz="1050" dirty="0"/>
              <a:t> </a:t>
            </a:r>
            <a:r>
              <a:rPr lang="fi-FI" sz="1050" dirty="0" err="1"/>
              <a:t>delivered</a:t>
            </a:r>
            <a:r>
              <a:rPr lang="fi-FI" sz="1050" dirty="0"/>
              <a:t> </a:t>
            </a:r>
            <a:r>
              <a:rPr lang="fi-FI" sz="1050" dirty="0" err="1"/>
              <a:t>user</a:t>
            </a:r>
            <a:r>
              <a:rPr lang="fi-FI" sz="1050" dirty="0"/>
              <a:t> </a:t>
            </a:r>
            <a:r>
              <a:rPr lang="fi-FI" sz="1050" dirty="0" err="1"/>
              <a:t>stories</a:t>
            </a:r>
            <a:r>
              <a:rPr lang="fi-FI" sz="1050" dirty="0"/>
              <a:t> 70% is a </a:t>
            </a:r>
            <a:r>
              <a:rPr lang="fi-FI" sz="1050" dirty="0" err="1"/>
              <a:t>good</a:t>
            </a:r>
            <a:r>
              <a:rPr lang="fi-FI" sz="1050" dirty="0"/>
              <a:t> </a:t>
            </a:r>
            <a:r>
              <a:rPr lang="fi-FI" sz="1050" dirty="0" err="1"/>
              <a:t>number</a:t>
            </a:r>
            <a:endParaRPr lang="fi-FI" sz="1050" dirty="0"/>
          </a:p>
          <a:p>
            <a:pPr lvl="2"/>
            <a:endParaRPr lang="fi-FI" sz="1050" dirty="0"/>
          </a:p>
          <a:p>
            <a:pPr lvl="1"/>
            <a:r>
              <a:rPr lang="fi-FI" sz="1400" dirty="0" err="1"/>
              <a:t>Keep</a:t>
            </a:r>
            <a:r>
              <a:rPr lang="fi-FI" sz="1400" dirty="0"/>
              <a:t> </a:t>
            </a:r>
            <a:r>
              <a:rPr lang="fi-FI" sz="1400" dirty="0" err="1"/>
              <a:t>bug</a:t>
            </a:r>
            <a:r>
              <a:rPr lang="fi-FI" sz="1400" dirty="0"/>
              <a:t> </a:t>
            </a:r>
            <a:r>
              <a:rPr lang="fi-FI" sz="1400" dirty="0" err="1"/>
              <a:t>count</a:t>
            </a:r>
            <a:r>
              <a:rPr lang="fi-FI" sz="1400" dirty="0"/>
              <a:t> </a:t>
            </a:r>
            <a:r>
              <a:rPr lang="fi-FI" sz="1400" dirty="0" err="1"/>
              <a:t>low</a:t>
            </a:r>
            <a:r>
              <a:rPr lang="fi-FI" sz="1400" dirty="0"/>
              <a:t> and </a:t>
            </a:r>
            <a:r>
              <a:rPr lang="fi-FI" sz="1400" dirty="0" err="1"/>
              <a:t>keep</a:t>
            </a:r>
            <a:r>
              <a:rPr lang="fi-FI" sz="1400" dirty="0"/>
              <a:t> </a:t>
            </a:r>
            <a:r>
              <a:rPr lang="fi-FI" sz="1400" dirty="0" err="1"/>
              <a:t>bugs</a:t>
            </a:r>
            <a:r>
              <a:rPr lang="fi-FI" sz="1400" dirty="0"/>
              <a:t> </a:t>
            </a:r>
            <a:r>
              <a:rPr lang="fi-FI" sz="1400" dirty="0" err="1"/>
              <a:t>young</a:t>
            </a:r>
            <a:r>
              <a:rPr lang="fi-FI" sz="1400" dirty="0"/>
              <a:t> – </a:t>
            </a:r>
            <a:r>
              <a:rPr lang="fi-FI" sz="1400" dirty="0" err="1"/>
              <a:t>less</a:t>
            </a:r>
            <a:r>
              <a:rPr lang="fi-FI" sz="1400" dirty="0"/>
              <a:t> </a:t>
            </a:r>
            <a:r>
              <a:rPr lang="fi-FI" sz="1400" dirty="0" err="1"/>
              <a:t>surprises</a:t>
            </a:r>
            <a:r>
              <a:rPr lang="fi-FI" sz="1400" dirty="0"/>
              <a:t> and </a:t>
            </a:r>
            <a:r>
              <a:rPr lang="fi-FI" sz="1400" dirty="0" err="1"/>
              <a:t>slowdowns</a:t>
            </a:r>
            <a:endParaRPr lang="fi-FI" sz="1400" dirty="0"/>
          </a:p>
          <a:p>
            <a:pPr marL="313200" lvl="1" indent="0">
              <a:buNone/>
            </a:pPr>
            <a:endParaRPr lang="fi-FI" sz="1400" dirty="0"/>
          </a:p>
          <a:p>
            <a:pPr lvl="1"/>
            <a:r>
              <a:rPr lang="fi-FI" sz="1400" dirty="0" err="1"/>
              <a:t>Automate</a:t>
            </a:r>
            <a:r>
              <a:rPr lang="fi-FI" sz="1400" dirty="0"/>
              <a:t> as </a:t>
            </a:r>
            <a:r>
              <a:rPr lang="fi-FI" sz="1400" dirty="0" err="1"/>
              <a:t>you</a:t>
            </a:r>
            <a:r>
              <a:rPr lang="fi-FI" sz="1400" dirty="0"/>
              <a:t> go </a:t>
            </a:r>
          </a:p>
          <a:p>
            <a:pPr lvl="2"/>
            <a:r>
              <a:rPr lang="fi-FI" sz="1050" dirty="0" err="1"/>
              <a:t>Relentlessly</a:t>
            </a:r>
            <a:r>
              <a:rPr lang="fi-FI" sz="1050" dirty="0"/>
              <a:t>. </a:t>
            </a:r>
            <a:r>
              <a:rPr lang="fi-FI" sz="1050" dirty="0" err="1"/>
              <a:t>You</a:t>
            </a:r>
            <a:r>
              <a:rPr lang="fi-FI" sz="1050" dirty="0"/>
              <a:t> </a:t>
            </a:r>
            <a:r>
              <a:rPr lang="fi-FI" sz="1050" dirty="0" err="1"/>
              <a:t>will</a:t>
            </a:r>
            <a:r>
              <a:rPr lang="fi-FI" sz="1050" dirty="0"/>
              <a:t> </a:t>
            </a:r>
            <a:r>
              <a:rPr lang="fi-FI" sz="1050" dirty="0" err="1"/>
              <a:t>not</a:t>
            </a:r>
            <a:r>
              <a:rPr lang="fi-FI" sz="1050" dirty="0"/>
              <a:t> </a:t>
            </a:r>
            <a:r>
              <a:rPr lang="fi-FI" sz="1050" dirty="0" err="1"/>
              <a:t>have</a:t>
            </a:r>
            <a:r>
              <a:rPr lang="fi-FI" sz="1050" dirty="0"/>
              <a:t> </a:t>
            </a:r>
            <a:r>
              <a:rPr lang="fi-FI" sz="1050" dirty="0" err="1"/>
              <a:t>time</a:t>
            </a:r>
            <a:r>
              <a:rPr lang="fi-FI" sz="1050" dirty="0"/>
              <a:t> </a:t>
            </a:r>
            <a:r>
              <a:rPr lang="fi-FI" sz="1050" dirty="0" err="1"/>
              <a:t>later</a:t>
            </a:r>
            <a:r>
              <a:rPr lang="fi-FI" sz="1050" dirty="0"/>
              <a:t>.</a:t>
            </a:r>
          </a:p>
          <a:p>
            <a:pPr lvl="1"/>
            <a:endParaRPr lang="fi-FI" sz="1400" dirty="0"/>
          </a:p>
          <a:p>
            <a:pPr lvl="1"/>
            <a:r>
              <a:rPr lang="fi-FI" sz="1400" dirty="0" err="1"/>
              <a:t>Deliver</a:t>
            </a:r>
            <a:r>
              <a:rPr lang="fi-FI" sz="1400" dirty="0"/>
              <a:t> </a:t>
            </a:r>
            <a:r>
              <a:rPr lang="fi-FI" sz="1400" dirty="0" err="1"/>
              <a:t>often</a:t>
            </a:r>
            <a:r>
              <a:rPr lang="fi-FI" sz="1400" dirty="0"/>
              <a:t>. </a:t>
            </a:r>
          </a:p>
          <a:p>
            <a:pPr lvl="2"/>
            <a:r>
              <a:rPr lang="fi-FI" sz="1050" dirty="0" err="1"/>
              <a:t>Once</a:t>
            </a:r>
            <a:r>
              <a:rPr lang="fi-FI" sz="1050" dirty="0"/>
              <a:t> a </a:t>
            </a:r>
            <a:r>
              <a:rPr lang="fi-FI" sz="1050" dirty="0" err="1"/>
              <a:t>week</a:t>
            </a:r>
            <a:r>
              <a:rPr lang="fi-FI" sz="1050" dirty="0"/>
              <a:t> – at </a:t>
            </a:r>
            <a:r>
              <a:rPr lang="fi-FI" sz="1050" dirty="0" err="1"/>
              <a:t>least</a:t>
            </a:r>
            <a:r>
              <a:rPr lang="fi-FI" sz="1050" dirty="0"/>
              <a:t>. Best in Finland </a:t>
            </a:r>
            <a:r>
              <a:rPr lang="fi-FI" sz="1050" dirty="0" err="1"/>
              <a:t>are</a:t>
            </a:r>
            <a:r>
              <a:rPr lang="fi-FI" sz="1050" dirty="0"/>
              <a:t> </a:t>
            </a:r>
            <a:r>
              <a:rPr lang="fi-FI" sz="1050" dirty="0" err="1"/>
              <a:t>doing</a:t>
            </a:r>
            <a:r>
              <a:rPr lang="fi-FI" sz="1050" dirty="0"/>
              <a:t> 5-10-20 a </a:t>
            </a:r>
            <a:r>
              <a:rPr lang="fi-FI" sz="1050" dirty="0" err="1"/>
              <a:t>day</a:t>
            </a:r>
            <a:r>
              <a:rPr lang="fi-FI" sz="1050" dirty="0"/>
              <a:t> – </a:t>
            </a:r>
            <a:r>
              <a:rPr lang="fi-FI" sz="1050" dirty="0" err="1"/>
              <a:t>even</a:t>
            </a:r>
            <a:r>
              <a:rPr lang="fi-FI" sz="1050" dirty="0"/>
              <a:t> in </a:t>
            </a:r>
            <a:r>
              <a:rPr lang="fi-FI" sz="1050" dirty="0" err="1"/>
              <a:t>large</a:t>
            </a:r>
            <a:r>
              <a:rPr lang="fi-FI" sz="1050" dirty="0"/>
              <a:t> </a:t>
            </a:r>
            <a:r>
              <a:rPr lang="fi-FI" sz="1050" dirty="0" err="1"/>
              <a:t>teams</a:t>
            </a:r>
            <a:endParaRPr lang="fi-FI" sz="1050" dirty="0"/>
          </a:p>
          <a:p>
            <a:pPr lvl="1"/>
            <a:endParaRPr lang="fi-FI" dirty="0"/>
          </a:p>
          <a:p>
            <a:pPr lvl="2"/>
            <a:endParaRPr lang="fi-FI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6B6021-508B-E74B-B2E0-FCC9550501B8}"/>
              </a:ext>
            </a:extLst>
          </p:cNvPr>
          <p:cNvSpPr txBox="1"/>
          <p:nvPr/>
        </p:nvSpPr>
        <p:spPr>
          <a:xfrm>
            <a:off x="0" y="-2395"/>
            <a:ext cx="2117887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Predictability</a:t>
            </a:r>
            <a:r>
              <a:rPr lang="fi-FI" sz="1400" dirty="0"/>
              <a:t> &amp; Plan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B39B4A-8806-3D40-9264-718979A969D9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922453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EB9283-88E8-8F4E-9551-17128F937A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" sz="2800" dirty="0"/>
              <a:t>When you have to estimate: Capacity side</a:t>
            </a:r>
            <a:endParaRPr lang="fi-FI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509DC9-C62B-D645-93D4-40136EFB2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fi-FI" dirty="0" err="1"/>
              <a:t>Establish</a:t>
            </a:r>
            <a:r>
              <a:rPr lang="fi-FI" dirty="0"/>
              <a:t> </a:t>
            </a:r>
            <a:r>
              <a:rPr lang="fi-FI" dirty="0" err="1"/>
              <a:t>your</a:t>
            </a:r>
            <a:r>
              <a:rPr lang="fi-FI" dirty="0"/>
              <a:t> </a:t>
            </a:r>
            <a:r>
              <a:rPr lang="fi-FI" dirty="0" err="1"/>
              <a:t>predictability</a:t>
            </a:r>
            <a:r>
              <a:rPr lang="fi-FI" dirty="0"/>
              <a:t> (</a:t>
            </a:r>
            <a:r>
              <a:rPr lang="fi-FI" dirty="0" err="1"/>
              <a:t>teams</a:t>
            </a:r>
            <a:r>
              <a:rPr lang="fi-FI" dirty="0"/>
              <a:t> </a:t>
            </a:r>
            <a:r>
              <a:rPr lang="fi-FI" dirty="0" err="1"/>
              <a:t>delivering</a:t>
            </a:r>
            <a:r>
              <a:rPr lang="fi-FI" dirty="0"/>
              <a:t> 70%+ of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committed</a:t>
            </a:r>
            <a:r>
              <a:rPr lang="fi-FI" dirty="0"/>
              <a:t> </a:t>
            </a:r>
            <a:r>
              <a:rPr lang="fi-FI" dirty="0" err="1"/>
              <a:t>user</a:t>
            </a:r>
            <a:r>
              <a:rPr lang="fi-FI" dirty="0"/>
              <a:t> </a:t>
            </a:r>
            <a:r>
              <a:rPr lang="fi-FI" dirty="0" err="1"/>
              <a:t>stories</a:t>
            </a:r>
            <a:r>
              <a:rPr lang="fi-FI" dirty="0"/>
              <a:t> per </a:t>
            </a:r>
            <a:r>
              <a:rPr lang="fi-FI" dirty="0" err="1"/>
              <a:t>sprint</a:t>
            </a:r>
            <a:r>
              <a:rPr lang="fi-FI" dirty="0"/>
              <a:t>). </a:t>
            </a:r>
            <a:r>
              <a:rPr lang="fi-FI" dirty="0" err="1"/>
              <a:t>Most</a:t>
            </a:r>
            <a:r>
              <a:rPr lang="fi-FI" dirty="0"/>
              <a:t> </a:t>
            </a:r>
            <a:r>
              <a:rPr lang="fi-FI" dirty="0" err="1"/>
              <a:t>stories</a:t>
            </a:r>
            <a:r>
              <a:rPr lang="fi-FI" dirty="0"/>
              <a:t> </a:t>
            </a:r>
            <a:r>
              <a:rPr lang="fi-FI" dirty="0" err="1"/>
              <a:t>should</a:t>
            </a:r>
            <a:r>
              <a:rPr lang="fi-FI" dirty="0"/>
              <a:t> </a:t>
            </a:r>
            <a:r>
              <a:rPr lang="fi-FI" dirty="0" err="1"/>
              <a:t>be</a:t>
            </a:r>
            <a:r>
              <a:rPr lang="fi-FI" dirty="0"/>
              <a:t> </a:t>
            </a:r>
            <a:r>
              <a:rPr lang="fi-FI" dirty="0" err="1"/>
              <a:t>sprint</a:t>
            </a:r>
            <a:r>
              <a:rPr lang="fi-FI" dirty="0"/>
              <a:t> </a:t>
            </a:r>
            <a:r>
              <a:rPr lang="fi-FI" dirty="0" err="1"/>
              <a:t>sized</a:t>
            </a:r>
            <a:endParaRPr lang="fi-FI" dirty="0"/>
          </a:p>
          <a:p>
            <a:pPr lvl="1"/>
            <a:r>
              <a:rPr lang="fi-FI" dirty="0" err="1"/>
              <a:t>Constant</a:t>
            </a:r>
            <a:r>
              <a:rPr lang="fi-FI" dirty="0"/>
              <a:t> </a:t>
            </a:r>
            <a:r>
              <a:rPr lang="fi-FI" dirty="0" err="1"/>
              <a:t>delivery</a:t>
            </a:r>
            <a:r>
              <a:rPr lang="fi-FI" dirty="0"/>
              <a:t> -&gt; no </a:t>
            </a:r>
            <a:r>
              <a:rPr lang="fi-FI" dirty="0" err="1"/>
              <a:t>testing</a:t>
            </a:r>
            <a:r>
              <a:rPr lang="fi-FI" dirty="0"/>
              <a:t> ”</a:t>
            </a:r>
            <a:r>
              <a:rPr lang="fi-FI" dirty="0" err="1"/>
              <a:t>phase</a:t>
            </a:r>
            <a:r>
              <a:rPr lang="fi-FI" dirty="0"/>
              <a:t>”. </a:t>
            </a:r>
          </a:p>
          <a:p>
            <a:endParaRPr lang="fi-FI" dirty="0"/>
          </a:p>
          <a:p>
            <a:r>
              <a:rPr lang="fi-FI" dirty="0" err="1"/>
              <a:t>Capacity</a:t>
            </a:r>
            <a:r>
              <a:rPr lang="fi-FI" dirty="0"/>
              <a:t> = How </a:t>
            </a:r>
            <a:r>
              <a:rPr lang="fi-FI" b="1" dirty="0" err="1"/>
              <a:t>many</a:t>
            </a:r>
            <a:r>
              <a:rPr lang="fi-FI" dirty="0"/>
              <a:t> </a:t>
            </a:r>
            <a:r>
              <a:rPr lang="fi-FI" dirty="0" err="1"/>
              <a:t>user</a:t>
            </a:r>
            <a:r>
              <a:rPr lang="fi-FI" dirty="0"/>
              <a:t> </a:t>
            </a:r>
            <a:r>
              <a:rPr lang="fi-FI" dirty="0" err="1"/>
              <a:t>stories</a:t>
            </a:r>
            <a:r>
              <a:rPr lang="fi-FI" dirty="0"/>
              <a:t> </a:t>
            </a:r>
            <a:r>
              <a:rPr lang="fi-FI" dirty="0" err="1"/>
              <a:t>teams</a:t>
            </a:r>
            <a:r>
              <a:rPr lang="fi-FI" dirty="0"/>
              <a:t> </a:t>
            </a:r>
            <a:r>
              <a:rPr lang="fi-FI" dirty="0" err="1"/>
              <a:t>overall</a:t>
            </a:r>
            <a:r>
              <a:rPr lang="fi-FI" dirty="0"/>
              <a:t> </a:t>
            </a:r>
            <a:r>
              <a:rPr lang="fi-FI" dirty="0" err="1"/>
              <a:t>are</a:t>
            </a:r>
            <a:r>
              <a:rPr lang="fi-FI" dirty="0"/>
              <a:t> </a:t>
            </a:r>
            <a:r>
              <a:rPr lang="fi-FI" dirty="0" err="1"/>
              <a:t>capable</a:t>
            </a:r>
            <a:r>
              <a:rPr lang="fi-FI" dirty="0"/>
              <a:t> of </a:t>
            </a:r>
            <a:r>
              <a:rPr lang="fi-FI" b="1" dirty="0" err="1"/>
              <a:t>delivering</a:t>
            </a:r>
            <a:r>
              <a:rPr lang="fi-FI" dirty="0"/>
              <a:t> per </a:t>
            </a:r>
            <a:r>
              <a:rPr lang="fi-FI" dirty="0" err="1"/>
              <a:t>month</a:t>
            </a:r>
            <a:r>
              <a:rPr lang="fi-FI" dirty="0"/>
              <a:t> / </a:t>
            </a:r>
            <a:r>
              <a:rPr lang="fi-FI" dirty="0" err="1"/>
              <a:t>sprint</a:t>
            </a:r>
            <a:r>
              <a:rPr lang="fi-FI" dirty="0"/>
              <a:t> </a:t>
            </a:r>
            <a:r>
              <a:rPr lang="fi-FI" dirty="0" err="1"/>
              <a:t>over</a:t>
            </a:r>
            <a:r>
              <a:rPr lang="fi-FI" dirty="0"/>
              <a:t> </a:t>
            </a:r>
            <a:r>
              <a:rPr lang="fi-FI" dirty="0" err="1"/>
              <a:t>time</a:t>
            </a:r>
            <a:r>
              <a:rPr lang="fi-FI" dirty="0"/>
              <a:t>. </a:t>
            </a:r>
          </a:p>
          <a:p>
            <a:pPr lvl="1"/>
            <a:r>
              <a:rPr lang="fi-FI" dirty="0" err="1"/>
              <a:t>Use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sum</a:t>
            </a:r>
            <a:r>
              <a:rPr lang="fi-FI" dirty="0"/>
              <a:t> of </a:t>
            </a:r>
            <a:r>
              <a:rPr lang="fi-FI" dirty="0" err="1"/>
              <a:t>teams</a:t>
            </a:r>
            <a:r>
              <a:rPr lang="fi-FI" dirty="0"/>
              <a:t> </a:t>
            </a:r>
            <a:r>
              <a:rPr lang="fi-FI" dirty="0" err="1"/>
              <a:t>more</a:t>
            </a:r>
            <a:r>
              <a:rPr lang="fi-FI" dirty="0"/>
              <a:t> </a:t>
            </a:r>
            <a:r>
              <a:rPr lang="fi-FI" dirty="0" err="1"/>
              <a:t>than</a:t>
            </a:r>
            <a:r>
              <a:rPr lang="fi-FI" dirty="0"/>
              <a:t> </a:t>
            </a:r>
            <a:r>
              <a:rPr lang="fi-FI" dirty="0" err="1"/>
              <a:t>individual</a:t>
            </a:r>
            <a:r>
              <a:rPr lang="fi-FI" dirty="0"/>
              <a:t> </a:t>
            </a:r>
            <a:r>
              <a:rPr lang="fi-FI" dirty="0" err="1"/>
              <a:t>teams</a:t>
            </a:r>
            <a:r>
              <a:rPr lang="fi-FI" dirty="0"/>
              <a:t> </a:t>
            </a:r>
            <a:r>
              <a:rPr lang="fi-FI" dirty="0" err="1"/>
              <a:t>number</a:t>
            </a:r>
            <a:r>
              <a:rPr lang="fi-FI" dirty="0"/>
              <a:t>. </a:t>
            </a:r>
          </a:p>
          <a:p>
            <a:pPr lvl="1"/>
            <a:r>
              <a:rPr lang="fi-FI" dirty="0" err="1"/>
              <a:t>Monitor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numbers</a:t>
            </a:r>
            <a:r>
              <a:rPr lang="fi-FI" dirty="0"/>
              <a:t> and </a:t>
            </a:r>
            <a:r>
              <a:rPr lang="fi-FI" dirty="0" err="1"/>
              <a:t>do</a:t>
            </a:r>
            <a:r>
              <a:rPr lang="fi-FI" dirty="0"/>
              <a:t> </a:t>
            </a:r>
            <a:r>
              <a:rPr lang="fi-FI" dirty="0" err="1"/>
              <a:t>learning</a:t>
            </a:r>
            <a:r>
              <a:rPr lang="fi-FI" dirty="0"/>
              <a:t> </a:t>
            </a:r>
            <a:r>
              <a:rPr lang="fi-FI" dirty="0" err="1"/>
              <a:t>loop</a:t>
            </a:r>
            <a:r>
              <a:rPr lang="fi-FI" dirty="0"/>
              <a:t> </a:t>
            </a:r>
            <a:r>
              <a:rPr lang="fi-FI" dirty="0" err="1"/>
              <a:t>until</a:t>
            </a:r>
            <a:r>
              <a:rPr lang="fi-FI" dirty="0"/>
              <a:t> it </a:t>
            </a:r>
            <a:r>
              <a:rPr lang="fi-FI" dirty="0" err="1"/>
              <a:t>stabilizes</a:t>
            </a:r>
            <a:r>
              <a:rPr lang="fi-FI" dirty="0"/>
              <a:t>.  </a:t>
            </a:r>
          </a:p>
          <a:p>
            <a:pPr lvl="1"/>
            <a:r>
              <a:rPr lang="fi-FI" dirty="0" err="1"/>
              <a:t>Use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team </a:t>
            </a:r>
            <a:r>
              <a:rPr lang="fi-FI" dirty="0" err="1"/>
              <a:t>level</a:t>
            </a:r>
            <a:r>
              <a:rPr lang="fi-FI" dirty="0"/>
              <a:t> </a:t>
            </a:r>
            <a:r>
              <a:rPr lang="fi-FI" dirty="0" err="1"/>
              <a:t>number</a:t>
            </a:r>
            <a:r>
              <a:rPr lang="fi-FI" dirty="0"/>
              <a:t> to </a:t>
            </a:r>
            <a:r>
              <a:rPr lang="fi-FI" b="1" dirty="0" err="1"/>
              <a:t>advise</a:t>
            </a:r>
            <a:r>
              <a:rPr lang="fi-FI" dirty="0"/>
              <a:t> </a:t>
            </a:r>
            <a:r>
              <a:rPr lang="fi-FI" dirty="0" err="1"/>
              <a:t>you</a:t>
            </a:r>
            <a:r>
              <a:rPr lang="fi-FI" dirty="0"/>
              <a:t> </a:t>
            </a:r>
            <a:r>
              <a:rPr lang="fi-FI" dirty="0" err="1"/>
              <a:t>when</a:t>
            </a:r>
            <a:r>
              <a:rPr lang="fi-FI" dirty="0"/>
              <a:t> </a:t>
            </a:r>
            <a:r>
              <a:rPr lang="fi-FI" dirty="0" err="1"/>
              <a:t>splitting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work</a:t>
            </a:r>
            <a:r>
              <a:rPr lang="fi-FI" dirty="0"/>
              <a:t> to </a:t>
            </a:r>
            <a:r>
              <a:rPr lang="fi-FI" dirty="0" err="1"/>
              <a:t>teams</a:t>
            </a:r>
            <a:r>
              <a:rPr lang="fi-FI" dirty="0"/>
              <a:t>…</a:t>
            </a:r>
          </a:p>
          <a:p>
            <a:pPr lvl="1"/>
            <a:r>
              <a:rPr lang="fi-FI" dirty="0" err="1"/>
              <a:t>All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work</a:t>
            </a:r>
            <a:r>
              <a:rPr lang="fi-FI" dirty="0"/>
              <a:t> </a:t>
            </a:r>
            <a:r>
              <a:rPr lang="fi-FI" dirty="0" err="1"/>
              <a:t>included</a:t>
            </a:r>
            <a:r>
              <a:rPr lang="fi-FI" dirty="0"/>
              <a:t>, </a:t>
            </a:r>
            <a:r>
              <a:rPr lang="fi-FI" dirty="0" err="1"/>
              <a:t>not</a:t>
            </a:r>
            <a:r>
              <a:rPr lang="fi-FI" dirty="0"/>
              <a:t> just </a:t>
            </a:r>
            <a:r>
              <a:rPr lang="fi-FI" dirty="0" err="1"/>
              <a:t>developing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stories</a:t>
            </a:r>
            <a:endParaRPr lang="fi-FI" dirty="0"/>
          </a:p>
          <a:p>
            <a:pPr lvl="1"/>
            <a:endParaRPr lang="fi-FI" dirty="0"/>
          </a:p>
          <a:p>
            <a:r>
              <a:rPr lang="fi-FI" i="1" dirty="0" err="1"/>
              <a:t>Velocity</a:t>
            </a:r>
            <a:r>
              <a:rPr lang="fi-FI" i="1" dirty="0"/>
              <a:t> </a:t>
            </a:r>
            <a:r>
              <a:rPr lang="fi-FI" i="1" dirty="0" err="1"/>
              <a:t>must</a:t>
            </a:r>
            <a:r>
              <a:rPr lang="fi-FI" i="1" dirty="0"/>
              <a:t> NEVER </a:t>
            </a:r>
            <a:r>
              <a:rPr lang="fi-FI" i="1" dirty="0" err="1"/>
              <a:t>be</a:t>
            </a:r>
            <a:r>
              <a:rPr lang="fi-FI" i="1" dirty="0"/>
              <a:t> </a:t>
            </a:r>
            <a:r>
              <a:rPr lang="fi-FI" i="1" dirty="0" err="1"/>
              <a:t>incentivized</a:t>
            </a:r>
            <a:r>
              <a:rPr lang="fi-FI" i="1" dirty="0"/>
              <a:t> KPI</a:t>
            </a:r>
          </a:p>
          <a:p>
            <a:r>
              <a:rPr lang="fi-FI" i="1" dirty="0" err="1"/>
              <a:t>Do</a:t>
            </a:r>
            <a:r>
              <a:rPr lang="fi-FI" i="1" dirty="0"/>
              <a:t> </a:t>
            </a:r>
            <a:r>
              <a:rPr lang="fi-FI" i="1" dirty="0" err="1"/>
              <a:t>not</a:t>
            </a:r>
            <a:r>
              <a:rPr lang="fi-FI" i="1" dirty="0"/>
              <a:t> </a:t>
            </a:r>
            <a:r>
              <a:rPr lang="fi-FI" i="1" dirty="0" err="1"/>
              <a:t>compare</a:t>
            </a:r>
            <a:r>
              <a:rPr lang="fi-FI" i="1" dirty="0"/>
              <a:t> </a:t>
            </a:r>
            <a:r>
              <a:rPr lang="fi-FI" i="1" dirty="0" err="1"/>
              <a:t>teams</a:t>
            </a:r>
            <a:r>
              <a:rPr lang="fi-FI" i="1" dirty="0"/>
              <a:t> </a:t>
            </a:r>
            <a:r>
              <a:rPr lang="fi-FI" i="1" dirty="0" err="1"/>
              <a:t>velocity</a:t>
            </a:r>
            <a:r>
              <a:rPr lang="fi-FI" i="1" dirty="0"/>
              <a:t> </a:t>
            </a:r>
            <a:r>
              <a:rPr lang="fi-FI" i="1" dirty="0" err="1"/>
              <a:t>numbers</a:t>
            </a:r>
            <a:r>
              <a:rPr lang="fi-FI" i="1" dirty="0"/>
              <a:t> </a:t>
            </a:r>
          </a:p>
          <a:p>
            <a:r>
              <a:rPr lang="fi-FI" i="1" dirty="0"/>
              <a:t>No </a:t>
            </a:r>
            <a:r>
              <a:rPr lang="fi-FI" i="1" dirty="0" err="1"/>
              <a:t>need</a:t>
            </a:r>
            <a:r>
              <a:rPr lang="fi-FI" i="1" dirty="0"/>
              <a:t> to </a:t>
            </a:r>
            <a:r>
              <a:rPr lang="fi-FI" i="1" dirty="0" err="1"/>
              <a:t>standardize</a:t>
            </a:r>
            <a:r>
              <a:rPr lang="fi-FI" i="1" dirty="0"/>
              <a:t> </a:t>
            </a:r>
            <a:r>
              <a:rPr lang="fi-FI" i="1" dirty="0" err="1"/>
              <a:t>user</a:t>
            </a:r>
            <a:r>
              <a:rPr lang="fi-FI" i="1" dirty="0"/>
              <a:t> </a:t>
            </a:r>
            <a:r>
              <a:rPr lang="fi-FI" i="1" dirty="0" err="1"/>
              <a:t>story</a:t>
            </a:r>
            <a:r>
              <a:rPr lang="fi-FI" i="1" dirty="0"/>
              <a:t> </a:t>
            </a:r>
            <a:r>
              <a:rPr lang="fi-FI" i="1" dirty="0" err="1"/>
              <a:t>size</a:t>
            </a:r>
            <a:endParaRPr lang="fi-FI" i="1" dirty="0"/>
          </a:p>
          <a:p>
            <a:pPr lvl="1"/>
            <a:endParaRPr lang="fi-FI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918C1C-916B-6B4B-927A-EC2C18AEE095}"/>
              </a:ext>
            </a:extLst>
          </p:cNvPr>
          <p:cNvSpPr txBox="1"/>
          <p:nvPr/>
        </p:nvSpPr>
        <p:spPr>
          <a:xfrm>
            <a:off x="0" y="-2395"/>
            <a:ext cx="2117887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Predictability</a:t>
            </a:r>
            <a:r>
              <a:rPr lang="fi-FI" sz="1400" dirty="0"/>
              <a:t> &amp; Plann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9BBA443-A742-1A4E-8F97-CFF2E372A3DE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3716403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44BBD-A3DE-B847-AD25-4DA8F5F1F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2800" dirty="0" err="1"/>
              <a:t>When</a:t>
            </a:r>
            <a:r>
              <a:rPr lang="fi-FI" sz="2800" dirty="0"/>
              <a:t> </a:t>
            </a:r>
            <a:r>
              <a:rPr lang="fi-FI" sz="2800" dirty="0" err="1"/>
              <a:t>you</a:t>
            </a:r>
            <a:r>
              <a:rPr lang="fi-FI" sz="2800" dirty="0"/>
              <a:t> </a:t>
            </a:r>
            <a:r>
              <a:rPr lang="fi-FI" sz="2800" dirty="0" err="1"/>
              <a:t>have</a:t>
            </a:r>
            <a:r>
              <a:rPr lang="fi-FI" sz="2800" dirty="0"/>
              <a:t> to </a:t>
            </a:r>
            <a:r>
              <a:rPr lang="fi-FI" sz="2800" dirty="0" err="1"/>
              <a:t>estimate</a:t>
            </a:r>
            <a:r>
              <a:rPr lang="fi-FI" sz="2800" dirty="0"/>
              <a:t>: </a:t>
            </a:r>
            <a:r>
              <a:rPr lang="fi-FI" sz="2800" dirty="0" err="1"/>
              <a:t>Demand</a:t>
            </a:r>
            <a:r>
              <a:rPr lang="fi-FI" sz="2800" dirty="0"/>
              <a:t> s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CB009B-6637-6840-B3A8-D3944DDB9A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775500"/>
          </a:xfrm>
        </p:spPr>
        <p:txBody>
          <a:bodyPr>
            <a:normAutofit/>
          </a:bodyPr>
          <a:lstStyle/>
          <a:p>
            <a:r>
              <a:rPr lang="fi-FI" dirty="0" err="1"/>
              <a:t>Those</a:t>
            </a:r>
            <a:r>
              <a:rPr lang="fi-FI" dirty="0"/>
              <a:t> </a:t>
            </a:r>
            <a:r>
              <a:rPr lang="fi-FI" dirty="0" err="1"/>
              <a:t>who</a:t>
            </a:r>
            <a:r>
              <a:rPr lang="fi-FI" dirty="0"/>
              <a:t> </a:t>
            </a:r>
            <a:r>
              <a:rPr lang="fi-FI" dirty="0" err="1"/>
              <a:t>know</a:t>
            </a:r>
            <a:r>
              <a:rPr lang="fi-FI" dirty="0"/>
              <a:t> </a:t>
            </a:r>
            <a:r>
              <a:rPr lang="fi-FI" dirty="0" err="1"/>
              <a:t>estimate</a:t>
            </a:r>
            <a:r>
              <a:rPr lang="fi-FI" dirty="0"/>
              <a:t> </a:t>
            </a:r>
            <a:r>
              <a:rPr lang="fi-FI" dirty="0" err="1"/>
              <a:t>roughly</a:t>
            </a:r>
            <a:r>
              <a:rPr lang="fi-FI" dirty="0"/>
              <a:t> </a:t>
            </a:r>
            <a:r>
              <a:rPr lang="fi-FI" b="1" dirty="0" err="1"/>
              <a:t>the</a:t>
            </a:r>
            <a:r>
              <a:rPr lang="fi-FI" b="1" dirty="0"/>
              <a:t> </a:t>
            </a:r>
            <a:r>
              <a:rPr lang="fi-FI" b="1" dirty="0" err="1"/>
              <a:t>number</a:t>
            </a:r>
            <a:r>
              <a:rPr lang="fi-FI" b="1" dirty="0"/>
              <a:t> </a:t>
            </a:r>
            <a:r>
              <a:rPr lang="fi-FI" dirty="0"/>
              <a:t>of </a:t>
            </a:r>
            <a:r>
              <a:rPr lang="fi-FI" dirty="0" err="1"/>
              <a:t>stories</a:t>
            </a:r>
            <a:r>
              <a:rPr lang="fi-FI" dirty="0"/>
              <a:t> and </a:t>
            </a:r>
            <a:r>
              <a:rPr lang="fi-FI" dirty="0" err="1"/>
              <a:t>what</a:t>
            </a:r>
            <a:r>
              <a:rPr lang="fi-FI" dirty="0"/>
              <a:t> </a:t>
            </a:r>
            <a:r>
              <a:rPr lang="fi-FI" dirty="0" err="1"/>
              <a:t>they</a:t>
            </a:r>
            <a:r>
              <a:rPr lang="fi-FI" dirty="0"/>
              <a:t> </a:t>
            </a:r>
            <a:r>
              <a:rPr lang="fi-FI" dirty="0" err="1"/>
              <a:t>roughly</a:t>
            </a:r>
            <a:r>
              <a:rPr lang="fi-FI" dirty="0"/>
              <a:t> (</a:t>
            </a:r>
            <a:r>
              <a:rPr lang="fi-FI" dirty="0" err="1"/>
              <a:t>groups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names</a:t>
            </a:r>
            <a:r>
              <a:rPr lang="fi-FI" dirty="0"/>
              <a:t> of </a:t>
            </a:r>
            <a:r>
              <a:rPr lang="fi-FI" dirty="0" err="1"/>
              <a:t>stories</a:t>
            </a:r>
            <a:r>
              <a:rPr lang="fi-FI" dirty="0"/>
              <a:t>) </a:t>
            </a:r>
            <a:r>
              <a:rPr lang="fi-FI" dirty="0" err="1"/>
              <a:t>would</a:t>
            </a:r>
            <a:r>
              <a:rPr lang="fi-FI" dirty="0"/>
              <a:t> </a:t>
            </a:r>
            <a:r>
              <a:rPr lang="fi-FI" dirty="0" err="1"/>
              <a:t>be</a:t>
            </a:r>
            <a:r>
              <a:rPr lang="fi-FI" dirty="0"/>
              <a:t> on </a:t>
            </a:r>
            <a:r>
              <a:rPr lang="fi-FI" dirty="0" err="1"/>
              <a:t>whiteboard</a:t>
            </a:r>
            <a:r>
              <a:rPr lang="fi-FI" dirty="0"/>
              <a:t> etc. </a:t>
            </a:r>
          </a:p>
          <a:p>
            <a:pPr lvl="1"/>
            <a:r>
              <a:rPr lang="fi-FI" dirty="0" err="1"/>
              <a:t>Split</a:t>
            </a:r>
            <a:r>
              <a:rPr lang="fi-FI" dirty="0"/>
              <a:t> to </a:t>
            </a:r>
            <a:r>
              <a:rPr lang="fi-FI" dirty="0" err="1"/>
              <a:t>reasonably</a:t>
            </a:r>
            <a:r>
              <a:rPr lang="fi-FI" dirty="0"/>
              <a:t> </a:t>
            </a:r>
            <a:r>
              <a:rPr lang="fi-FI" dirty="0" err="1"/>
              <a:t>sized</a:t>
            </a:r>
            <a:r>
              <a:rPr lang="fi-FI" dirty="0"/>
              <a:t> </a:t>
            </a:r>
            <a:r>
              <a:rPr lang="fi-FI" dirty="0" err="1"/>
              <a:t>Epics</a:t>
            </a:r>
            <a:r>
              <a:rPr lang="fi-FI" dirty="0"/>
              <a:t> </a:t>
            </a:r>
            <a:r>
              <a:rPr lang="fi-FI" dirty="0" err="1"/>
              <a:t>that</a:t>
            </a:r>
            <a:r>
              <a:rPr lang="fi-FI" dirty="0"/>
              <a:t> </a:t>
            </a:r>
            <a:r>
              <a:rPr lang="fi-FI" dirty="0" err="1"/>
              <a:t>can</a:t>
            </a:r>
            <a:r>
              <a:rPr lang="fi-FI" dirty="0"/>
              <a:t> </a:t>
            </a:r>
            <a:r>
              <a:rPr lang="fi-FI" dirty="0" err="1"/>
              <a:t>be</a:t>
            </a:r>
            <a:r>
              <a:rPr lang="fi-FI" dirty="0"/>
              <a:t> </a:t>
            </a:r>
            <a:r>
              <a:rPr lang="fi-FI" dirty="0" err="1"/>
              <a:t>delivered</a:t>
            </a:r>
            <a:r>
              <a:rPr lang="fi-FI" dirty="0"/>
              <a:t> </a:t>
            </a:r>
            <a:r>
              <a:rPr lang="fi-FI" dirty="0" err="1"/>
              <a:t>separately</a:t>
            </a:r>
            <a:r>
              <a:rPr lang="fi-FI" dirty="0"/>
              <a:t> – MVP… </a:t>
            </a:r>
          </a:p>
          <a:p>
            <a:pPr lvl="1"/>
            <a:r>
              <a:rPr lang="fi-FI" dirty="0" err="1"/>
              <a:t>Record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stimated</a:t>
            </a:r>
            <a:r>
              <a:rPr lang="fi-FI" dirty="0"/>
              <a:t> </a:t>
            </a:r>
            <a:r>
              <a:rPr lang="fi-FI" dirty="0" err="1"/>
              <a:t>stories</a:t>
            </a:r>
            <a:r>
              <a:rPr lang="fi-FI" dirty="0"/>
              <a:t> for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pic</a:t>
            </a:r>
            <a:r>
              <a:rPr lang="fi-FI" dirty="0"/>
              <a:t>/s. </a:t>
            </a:r>
          </a:p>
          <a:p>
            <a:r>
              <a:rPr lang="fi-FI" dirty="0"/>
              <a:t>Expansion </a:t>
            </a:r>
            <a:r>
              <a:rPr lang="fi-FI" dirty="0" err="1"/>
              <a:t>factor</a:t>
            </a:r>
            <a:r>
              <a:rPr lang="fi-FI" dirty="0"/>
              <a:t> </a:t>
            </a:r>
          </a:p>
          <a:p>
            <a:pPr lvl="1"/>
            <a:r>
              <a:rPr lang="fi-FI" dirty="0" err="1"/>
              <a:t>Monitor</a:t>
            </a:r>
            <a:r>
              <a:rPr lang="fi-FI" dirty="0"/>
              <a:t> # of </a:t>
            </a:r>
            <a:r>
              <a:rPr lang="fi-FI" dirty="0" err="1"/>
              <a:t>stories</a:t>
            </a:r>
            <a:r>
              <a:rPr lang="fi-FI" dirty="0"/>
              <a:t> </a:t>
            </a:r>
            <a:r>
              <a:rPr lang="fi-FI" dirty="0" err="1"/>
              <a:t>teams</a:t>
            </a:r>
            <a:r>
              <a:rPr lang="fi-FI" dirty="0"/>
              <a:t> </a:t>
            </a:r>
            <a:r>
              <a:rPr lang="fi-FI" dirty="0" err="1"/>
              <a:t>actually</a:t>
            </a:r>
            <a:r>
              <a:rPr lang="fi-FI" dirty="0"/>
              <a:t> </a:t>
            </a:r>
            <a:r>
              <a:rPr lang="fi-FI" dirty="0" err="1"/>
              <a:t>created</a:t>
            </a:r>
            <a:r>
              <a:rPr lang="fi-FI" dirty="0"/>
              <a:t> in </a:t>
            </a:r>
            <a:r>
              <a:rPr lang="fi-FI" dirty="0" err="1"/>
              <a:t>implementation</a:t>
            </a:r>
            <a:r>
              <a:rPr lang="fi-FI" dirty="0"/>
              <a:t> = </a:t>
            </a:r>
            <a:r>
              <a:rPr lang="fi-FI" dirty="0" err="1"/>
              <a:t>implementation</a:t>
            </a:r>
            <a:r>
              <a:rPr lang="fi-FI" dirty="0"/>
              <a:t> </a:t>
            </a:r>
            <a:r>
              <a:rPr lang="fi-FI" dirty="0" err="1"/>
              <a:t>stories</a:t>
            </a:r>
            <a:endParaRPr lang="fi-FI" dirty="0"/>
          </a:p>
          <a:p>
            <a:pPr lvl="1"/>
            <a:r>
              <a:rPr lang="fi-FI" dirty="0" err="1"/>
              <a:t>Sum</a:t>
            </a:r>
            <a:r>
              <a:rPr lang="fi-FI" dirty="0"/>
              <a:t> of </a:t>
            </a:r>
            <a:r>
              <a:rPr lang="fi-FI" dirty="0" err="1"/>
              <a:t>implementation</a:t>
            </a:r>
            <a:r>
              <a:rPr lang="fi-FI" dirty="0"/>
              <a:t> </a:t>
            </a:r>
            <a:r>
              <a:rPr lang="fi-FI" dirty="0" err="1"/>
              <a:t>stories</a:t>
            </a:r>
            <a:r>
              <a:rPr lang="fi-FI" dirty="0"/>
              <a:t> / </a:t>
            </a:r>
            <a:r>
              <a:rPr lang="fi-FI" dirty="0" err="1"/>
              <a:t>sum</a:t>
            </a:r>
            <a:r>
              <a:rPr lang="fi-FI" dirty="0"/>
              <a:t> of </a:t>
            </a:r>
            <a:r>
              <a:rPr lang="fi-FI" dirty="0" err="1"/>
              <a:t>estimated</a:t>
            </a:r>
            <a:r>
              <a:rPr lang="fi-FI" dirty="0"/>
              <a:t> </a:t>
            </a:r>
            <a:r>
              <a:rPr lang="fi-FI" dirty="0" err="1"/>
              <a:t>user</a:t>
            </a:r>
            <a:r>
              <a:rPr lang="fi-FI" dirty="0"/>
              <a:t> </a:t>
            </a:r>
            <a:r>
              <a:rPr lang="fi-FI" dirty="0" err="1"/>
              <a:t>stories</a:t>
            </a:r>
            <a:r>
              <a:rPr lang="fi-FI" dirty="0"/>
              <a:t> (in a </a:t>
            </a:r>
            <a:r>
              <a:rPr lang="fi-FI" dirty="0" err="1"/>
              <a:t>year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half</a:t>
            </a:r>
            <a:r>
              <a:rPr lang="fi-FI" dirty="0"/>
              <a:t> a </a:t>
            </a:r>
            <a:r>
              <a:rPr lang="fi-FI" dirty="0" err="1"/>
              <a:t>year</a:t>
            </a:r>
            <a:r>
              <a:rPr lang="fi-FI" dirty="0"/>
              <a:t>) = </a:t>
            </a:r>
            <a:r>
              <a:rPr lang="fi-FI" b="1" dirty="0" err="1"/>
              <a:t>expansion</a:t>
            </a:r>
            <a:r>
              <a:rPr lang="fi-FI" b="1" dirty="0"/>
              <a:t> </a:t>
            </a:r>
            <a:r>
              <a:rPr lang="fi-FI" b="1" dirty="0" err="1"/>
              <a:t>factor</a:t>
            </a:r>
            <a:endParaRPr lang="fi-FI" b="1" dirty="0"/>
          </a:p>
          <a:p>
            <a:pPr lvl="1"/>
            <a:r>
              <a:rPr lang="fi-FI" dirty="0"/>
              <a:t>Update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xpansion</a:t>
            </a:r>
            <a:r>
              <a:rPr lang="fi-FI" dirty="0"/>
              <a:t> </a:t>
            </a:r>
            <a:r>
              <a:rPr lang="fi-FI" dirty="0" err="1"/>
              <a:t>factor</a:t>
            </a:r>
            <a:r>
              <a:rPr lang="fi-FI" dirty="0"/>
              <a:t> as </a:t>
            </a:r>
            <a:r>
              <a:rPr lang="fi-FI" dirty="0" err="1"/>
              <a:t>more</a:t>
            </a:r>
            <a:r>
              <a:rPr lang="fi-FI" dirty="0"/>
              <a:t> </a:t>
            </a:r>
            <a:r>
              <a:rPr lang="fi-FI" dirty="0" err="1"/>
              <a:t>stories</a:t>
            </a:r>
            <a:r>
              <a:rPr lang="fi-FI" dirty="0"/>
              <a:t> </a:t>
            </a:r>
            <a:r>
              <a:rPr lang="fi-FI" dirty="0" err="1"/>
              <a:t>gets</a:t>
            </a:r>
            <a:r>
              <a:rPr lang="fi-FI" dirty="0"/>
              <a:t> </a:t>
            </a:r>
            <a:r>
              <a:rPr lang="fi-FI" dirty="0" err="1"/>
              <a:t>built</a:t>
            </a:r>
            <a:r>
              <a:rPr lang="fi-FI" dirty="0"/>
              <a:t> (</a:t>
            </a:r>
            <a:r>
              <a:rPr lang="fi-FI" dirty="0" err="1"/>
              <a:t>every</a:t>
            </a:r>
            <a:r>
              <a:rPr lang="fi-FI" dirty="0"/>
              <a:t> </a:t>
            </a:r>
            <a:r>
              <a:rPr lang="fi-FI" dirty="0" err="1"/>
              <a:t>quarter</a:t>
            </a:r>
            <a:r>
              <a:rPr lang="fi-FI" dirty="0"/>
              <a:t> / </a:t>
            </a:r>
            <a:r>
              <a:rPr lang="fi-FI" dirty="0" err="1"/>
              <a:t>half</a:t>
            </a:r>
            <a:r>
              <a:rPr lang="fi-FI" dirty="0"/>
              <a:t> a </a:t>
            </a:r>
            <a:r>
              <a:rPr lang="fi-FI" dirty="0" err="1"/>
              <a:t>year</a:t>
            </a:r>
            <a:r>
              <a:rPr lang="fi-FI" dirty="0"/>
              <a:t>)</a:t>
            </a:r>
          </a:p>
          <a:p>
            <a:r>
              <a:rPr lang="fi-FI" dirty="0" err="1"/>
              <a:t>Demand</a:t>
            </a:r>
            <a:r>
              <a:rPr lang="fi-FI" dirty="0"/>
              <a:t> = </a:t>
            </a:r>
            <a:r>
              <a:rPr lang="fi-FI" dirty="0" err="1"/>
              <a:t>Number</a:t>
            </a:r>
            <a:r>
              <a:rPr lang="fi-FI" dirty="0"/>
              <a:t> of </a:t>
            </a:r>
            <a:r>
              <a:rPr lang="fi-FI" dirty="0" err="1"/>
              <a:t>estimated</a:t>
            </a:r>
            <a:r>
              <a:rPr lang="fi-FI" dirty="0"/>
              <a:t> </a:t>
            </a:r>
            <a:r>
              <a:rPr lang="fi-FI" dirty="0" err="1"/>
              <a:t>user</a:t>
            </a:r>
            <a:r>
              <a:rPr lang="fi-FI" dirty="0"/>
              <a:t> </a:t>
            </a:r>
            <a:r>
              <a:rPr lang="fi-FI" dirty="0" err="1"/>
              <a:t>stories</a:t>
            </a:r>
            <a:r>
              <a:rPr lang="fi-FI" dirty="0"/>
              <a:t> x </a:t>
            </a:r>
            <a:r>
              <a:rPr lang="fi-FI" dirty="0" err="1"/>
              <a:t>expansion</a:t>
            </a:r>
            <a:r>
              <a:rPr lang="fi-FI" dirty="0"/>
              <a:t> </a:t>
            </a:r>
            <a:r>
              <a:rPr lang="fi-FI" dirty="0" err="1"/>
              <a:t>factor</a:t>
            </a:r>
            <a:endParaRPr lang="fi-FI" dirty="0"/>
          </a:p>
          <a:p>
            <a:pPr lvl="1"/>
            <a:r>
              <a:rPr lang="fi-FI" dirty="0"/>
              <a:t>Is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pic’s</a:t>
            </a:r>
            <a:r>
              <a:rPr lang="fi-FI" dirty="0"/>
              <a:t> </a:t>
            </a:r>
            <a:r>
              <a:rPr lang="fi-FI" dirty="0" err="1"/>
              <a:t>number</a:t>
            </a:r>
            <a:r>
              <a:rPr lang="fi-FI" dirty="0"/>
              <a:t> of </a:t>
            </a:r>
            <a:r>
              <a:rPr lang="fi-FI" dirty="0" err="1"/>
              <a:t>estimation</a:t>
            </a:r>
            <a:r>
              <a:rPr lang="fi-FI" dirty="0"/>
              <a:t> </a:t>
            </a:r>
            <a:r>
              <a:rPr lang="fi-FI" dirty="0" err="1"/>
              <a:t>user</a:t>
            </a:r>
            <a:r>
              <a:rPr lang="fi-FI" dirty="0"/>
              <a:t> </a:t>
            </a:r>
            <a:r>
              <a:rPr lang="fi-FI" dirty="0" err="1"/>
              <a:t>stories</a:t>
            </a:r>
            <a:r>
              <a:rPr lang="fi-FI" dirty="0"/>
              <a:t> x </a:t>
            </a:r>
            <a:r>
              <a:rPr lang="fi-FI" dirty="0" err="1"/>
              <a:t>expansion</a:t>
            </a:r>
            <a:r>
              <a:rPr lang="fi-FI" dirty="0"/>
              <a:t> </a:t>
            </a:r>
            <a:r>
              <a:rPr lang="fi-FI" dirty="0" err="1"/>
              <a:t>factor</a:t>
            </a:r>
            <a:r>
              <a:rPr lang="fi-FI" dirty="0"/>
              <a:t> </a:t>
            </a:r>
            <a:r>
              <a:rPr lang="fi-FI" dirty="0" err="1"/>
              <a:t>reasonable</a:t>
            </a:r>
            <a:r>
              <a:rPr lang="fi-FI" dirty="0"/>
              <a:t> for </a:t>
            </a:r>
            <a:r>
              <a:rPr lang="fi-FI" dirty="0" err="1"/>
              <a:t>the</a:t>
            </a:r>
            <a:r>
              <a:rPr lang="fi-FI" dirty="0"/>
              <a:t> business case. (as a </a:t>
            </a:r>
            <a:r>
              <a:rPr lang="fi-FI" dirty="0" err="1"/>
              <a:t>fraction</a:t>
            </a:r>
            <a:r>
              <a:rPr lang="fi-FI" dirty="0"/>
              <a:t> of </a:t>
            </a:r>
            <a:r>
              <a:rPr lang="fi-FI" dirty="0" err="1"/>
              <a:t>capacity</a:t>
            </a:r>
            <a:r>
              <a:rPr lang="fi-FI" dirty="0"/>
              <a:t>)</a:t>
            </a:r>
          </a:p>
          <a:p>
            <a:pPr lvl="1"/>
            <a:r>
              <a:rPr lang="fi-FI" dirty="0" err="1"/>
              <a:t>Roughly</a:t>
            </a:r>
            <a:r>
              <a:rPr lang="fi-FI" dirty="0"/>
              <a:t> </a:t>
            </a:r>
            <a:r>
              <a:rPr lang="fi-FI" dirty="0" err="1"/>
              <a:t>how</a:t>
            </a:r>
            <a:r>
              <a:rPr lang="fi-FI" dirty="0"/>
              <a:t>/</a:t>
            </a:r>
            <a:r>
              <a:rPr lang="fi-FI" dirty="0" err="1"/>
              <a:t>where</a:t>
            </a:r>
            <a:r>
              <a:rPr lang="fi-FI" dirty="0"/>
              <a:t> </a:t>
            </a:r>
            <a:r>
              <a:rPr lang="fi-FI" dirty="0" err="1"/>
              <a:t>does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pic</a:t>
            </a:r>
            <a:r>
              <a:rPr lang="fi-FI" dirty="0"/>
              <a:t> </a:t>
            </a:r>
            <a:r>
              <a:rPr lang="fi-FI" dirty="0" err="1"/>
              <a:t>fit</a:t>
            </a:r>
            <a:r>
              <a:rPr lang="fi-FI" dirty="0"/>
              <a:t> to </a:t>
            </a:r>
            <a:r>
              <a:rPr lang="fi-FI" b="1" dirty="0" err="1"/>
              <a:t>available</a:t>
            </a:r>
            <a:r>
              <a:rPr lang="fi-FI" b="1" dirty="0"/>
              <a:t> </a:t>
            </a:r>
            <a:r>
              <a:rPr lang="fi-FI" b="1" dirty="0" err="1"/>
              <a:t>capacity</a:t>
            </a:r>
            <a:r>
              <a:rPr lang="fi-FI" dirty="0"/>
              <a:t>…</a:t>
            </a:r>
          </a:p>
          <a:p>
            <a:r>
              <a:rPr lang="fi-FI" i="1" dirty="0" err="1"/>
              <a:t>Keep</a:t>
            </a:r>
            <a:r>
              <a:rPr lang="fi-FI" i="1" dirty="0"/>
              <a:t> </a:t>
            </a:r>
            <a:r>
              <a:rPr lang="fi-FI" i="1" dirty="0" err="1"/>
              <a:t>your</a:t>
            </a:r>
            <a:r>
              <a:rPr lang="fi-FI" i="1" dirty="0"/>
              <a:t> </a:t>
            </a:r>
            <a:r>
              <a:rPr lang="fi-FI" i="1" dirty="0" err="1"/>
              <a:t>epics</a:t>
            </a:r>
            <a:r>
              <a:rPr lang="fi-FI" i="1" dirty="0"/>
              <a:t> </a:t>
            </a:r>
            <a:r>
              <a:rPr lang="fi-FI" i="1" dirty="0" err="1"/>
              <a:t>small</a:t>
            </a:r>
            <a:r>
              <a:rPr lang="fi-FI" i="1" dirty="0"/>
              <a:t> to </a:t>
            </a:r>
            <a:r>
              <a:rPr lang="fi-FI" i="1" dirty="0" err="1"/>
              <a:t>deliver</a:t>
            </a:r>
            <a:r>
              <a:rPr lang="fi-FI" i="1" dirty="0"/>
              <a:t> </a:t>
            </a:r>
            <a:r>
              <a:rPr lang="fi-FI" i="1" dirty="0" err="1"/>
              <a:t>them</a:t>
            </a:r>
            <a:r>
              <a:rPr lang="fi-FI" i="1" dirty="0"/>
              <a:t> </a:t>
            </a:r>
            <a:r>
              <a:rPr lang="fi-FI" i="1" dirty="0" err="1"/>
              <a:t>early</a:t>
            </a:r>
            <a:r>
              <a:rPr lang="fi-FI" i="1" dirty="0"/>
              <a:t> and to </a:t>
            </a:r>
            <a:r>
              <a:rPr lang="fi-FI" i="1" dirty="0" err="1"/>
              <a:t>keep</a:t>
            </a:r>
            <a:r>
              <a:rPr lang="fi-FI" i="1" dirty="0"/>
              <a:t> WIP </a:t>
            </a:r>
            <a:r>
              <a:rPr lang="fi-FI" i="1" dirty="0" err="1"/>
              <a:t>low</a:t>
            </a:r>
            <a:r>
              <a:rPr lang="fi-FI" i="1" dirty="0"/>
              <a:t>.</a:t>
            </a:r>
          </a:p>
          <a:p>
            <a:pPr lvl="1"/>
            <a:r>
              <a:rPr lang="fi-FI" i="1" dirty="0" err="1"/>
              <a:t>Ideally</a:t>
            </a:r>
            <a:r>
              <a:rPr lang="fi-FI" i="1" dirty="0"/>
              <a:t> </a:t>
            </a:r>
            <a:r>
              <a:rPr lang="fi-FI" i="1" dirty="0" err="1"/>
              <a:t>deliver</a:t>
            </a:r>
            <a:r>
              <a:rPr lang="fi-FI" i="1" dirty="0"/>
              <a:t> </a:t>
            </a:r>
            <a:r>
              <a:rPr lang="fi-FI" i="1" dirty="0" err="1"/>
              <a:t>every</a:t>
            </a:r>
            <a:r>
              <a:rPr lang="fi-FI" i="1" dirty="0"/>
              <a:t> </a:t>
            </a:r>
            <a:r>
              <a:rPr lang="fi-FI" i="1" dirty="0" err="1"/>
              <a:t>sprint</a:t>
            </a:r>
            <a:r>
              <a:rPr lang="fi-FI" i="1" dirty="0"/>
              <a:t> </a:t>
            </a:r>
            <a:r>
              <a:rPr lang="fi-FI" i="1" dirty="0" err="1"/>
              <a:t>or</a:t>
            </a:r>
            <a:r>
              <a:rPr lang="fi-FI" i="1" dirty="0"/>
              <a:t> </a:t>
            </a:r>
            <a:r>
              <a:rPr lang="fi-FI" i="1" dirty="0" err="1"/>
              <a:t>more</a:t>
            </a:r>
            <a:r>
              <a:rPr lang="fi-FI" i="1" dirty="0"/>
              <a:t> </a:t>
            </a:r>
            <a:r>
              <a:rPr lang="fi-FI" i="1" dirty="0" err="1"/>
              <a:t>often</a:t>
            </a:r>
            <a:r>
              <a:rPr lang="fi-FI" i="1" dirty="0"/>
              <a:t> to </a:t>
            </a:r>
            <a:r>
              <a:rPr lang="fi-FI" i="1" dirty="0" err="1"/>
              <a:t>production</a:t>
            </a:r>
            <a:r>
              <a:rPr lang="fi-FI" i="1" dirty="0"/>
              <a:t> </a:t>
            </a:r>
          </a:p>
          <a:p>
            <a:r>
              <a:rPr lang="fi-FI" i="1" dirty="0"/>
              <a:t>Team / </a:t>
            </a:r>
            <a:r>
              <a:rPr lang="fi-FI" i="1" dirty="0" err="1"/>
              <a:t>sprint</a:t>
            </a:r>
            <a:r>
              <a:rPr lang="fi-FI" i="1" dirty="0"/>
              <a:t> </a:t>
            </a:r>
            <a:r>
              <a:rPr lang="fi-FI" i="1" dirty="0" err="1"/>
              <a:t>level</a:t>
            </a:r>
            <a:r>
              <a:rPr lang="fi-FI" i="1" dirty="0"/>
              <a:t> </a:t>
            </a:r>
            <a:r>
              <a:rPr lang="fi-FI" i="1" dirty="0" err="1"/>
              <a:t>estimation</a:t>
            </a:r>
            <a:r>
              <a:rPr lang="fi-FI" i="1" dirty="0"/>
              <a:t> </a:t>
            </a:r>
            <a:r>
              <a:rPr lang="fi-FI" i="1" dirty="0" err="1"/>
              <a:t>techniques</a:t>
            </a:r>
            <a:r>
              <a:rPr lang="fi-FI" i="1" dirty="0"/>
              <a:t> </a:t>
            </a:r>
            <a:r>
              <a:rPr lang="fi-FI" i="1" dirty="0" err="1"/>
              <a:t>are</a:t>
            </a:r>
            <a:r>
              <a:rPr lang="fi-FI" i="1" dirty="0"/>
              <a:t> </a:t>
            </a:r>
            <a:r>
              <a:rPr lang="fi-FI" i="1" dirty="0" err="1"/>
              <a:t>up</a:t>
            </a:r>
            <a:r>
              <a:rPr lang="fi-FI" i="1" dirty="0"/>
              <a:t> to </a:t>
            </a:r>
            <a:r>
              <a:rPr lang="fi-FI" i="1" dirty="0" err="1"/>
              <a:t>the</a:t>
            </a:r>
            <a:r>
              <a:rPr lang="fi-FI" i="1" dirty="0"/>
              <a:t> </a:t>
            </a:r>
            <a:r>
              <a:rPr lang="fi-FI" i="1" dirty="0" err="1"/>
              <a:t>teams</a:t>
            </a:r>
            <a:r>
              <a:rPr lang="fi-FI" i="1" dirty="0"/>
              <a:t> – </a:t>
            </a:r>
            <a:r>
              <a:rPr lang="fi-FI" i="1" dirty="0" err="1"/>
              <a:t>use</a:t>
            </a:r>
            <a:r>
              <a:rPr lang="fi-FI" i="1" dirty="0"/>
              <a:t> </a:t>
            </a:r>
            <a:r>
              <a:rPr lang="fi-FI" i="1" dirty="0" err="1"/>
              <a:t>any</a:t>
            </a:r>
            <a:r>
              <a:rPr lang="fi-FI" i="1" dirty="0"/>
              <a:t>/</a:t>
            </a:r>
            <a:r>
              <a:rPr lang="fi-FI" i="1" dirty="0" err="1"/>
              <a:t>many</a:t>
            </a:r>
            <a:endParaRPr lang="fi-FI" i="1" dirty="0"/>
          </a:p>
          <a:p>
            <a:pPr lvl="1"/>
            <a:endParaRPr lang="fi-FI" dirty="0"/>
          </a:p>
          <a:p>
            <a:endParaRPr lang="fi-FI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9E841A-9ADA-5F44-9752-C3CFBD022169}"/>
              </a:ext>
            </a:extLst>
          </p:cNvPr>
          <p:cNvSpPr txBox="1"/>
          <p:nvPr/>
        </p:nvSpPr>
        <p:spPr>
          <a:xfrm>
            <a:off x="0" y="-2395"/>
            <a:ext cx="2117887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Predictability</a:t>
            </a:r>
            <a:r>
              <a:rPr lang="fi-FI" sz="1400" dirty="0"/>
              <a:t> &amp; Plann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4CF3DF-34C5-774C-9248-753CFDAD8059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295550788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024BD-1188-6345-8116-E42A5AB43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" sz="2800" dirty="0"/>
              <a:t>Possible portfolio views</a:t>
            </a:r>
            <a:endParaRPr lang="fi-FI" sz="28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F9F15D-AB08-8A48-8376-FBBE0EA1AEF5}"/>
              </a:ext>
            </a:extLst>
          </p:cNvPr>
          <p:cNvSpPr/>
          <p:nvPr/>
        </p:nvSpPr>
        <p:spPr>
          <a:xfrm>
            <a:off x="352800" y="966447"/>
            <a:ext cx="6480720" cy="4370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Business </a:t>
            </a:r>
            <a:r>
              <a:rPr lang="fi-FI" dirty="0" err="1"/>
              <a:t>views</a:t>
            </a:r>
            <a:r>
              <a:rPr lang="fi-FI" dirty="0"/>
              <a:t> (Innovation </a:t>
            </a:r>
            <a:r>
              <a:rPr lang="fi-FI" dirty="0" err="1"/>
              <a:t>accounting</a:t>
            </a:r>
            <a:r>
              <a:rPr lang="fi-FI" dirty="0"/>
              <a:t>, </a:t>
            </a:r>
            <a:r>
              <a:rPr lang="fi-FI" dirty="0" err="1"/>
              <a:t>sales</a:t>
            </a:r>
            <a:r>
              <a:rPr lang="fi-FI" dirty="0"/>
              <a:t>/</a:t>
            </a:r>
            <a:r>
              <a:rPr lang="fi-FI" dirty="0" err="1"/>
              <a:t>costs</a:t>
            </a:r>
            <a:r>
              <a:rPr lang="fi-FI" dirty="0"/>
              <a:t>) </a:t>
            </a:r>
            <a:r>
              <a:rPr lang="fi-FI" i="1" dirty="0"/>
              <a:t>#money</a:t>
            </a:r>
          </a:p>
          <a:p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 err="1"/>
              <a:t>Capability</a:t>
            </a:r>
            <a:r>
              <a:rPr lang="fi-FI" dirty="0"/>
              <a:t> </a:t>
            </a:r>
            <a:r>
              <a:rPr lang="fi-FI" dirty="0" err="1"/>
              <a:t>view</a:t>
            </a:r>
            <a:endParaRPr lang="fi-FI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i-FI" sz="1600" dirty="0" err="1"/>
              <a:t>Understand</a:t>
            </a:r>
            <a:r>
              <a:rPr lang="fi-FI" sz="1600" dirty="0"/>
              <a:t> </a:t>
            </a:r>
            <a:r>
              <a:rPr lang="fi-FI" sz="1600" dirty="0" err="1"/>
              <a:t>your</a:t>
            </a:r>
            <a:r>
              <a:rPr lang="fi-FI" sz="1600" dirty="0"/>
              <a:t> </a:t>
            </a:r>
            <a:r>
              <a:rPr lang="fi-FI" sz="1600" dirty="0" err="1"/>
              <a:t>capacity</a:t>
            </a:r>
            <a:r>
              <a:rPr lang="fi-FI" sz="1600" dirty="0"/>
              <a:t> to </a:t>
            </a:r>
            <a:r>
              <a:rPr lang="fi-FI" sz="1600" dirty="0" err="1"/>
              <a:t>deliver</a:t>
            </a:r>
            <a:r>
              <a:rPr lang="fi-FI" sz="1600" dirty="0"/>
              <a:t> </a:t>
            </a:r>
            <a:r>
              <a:rPr lang="fi-FI" sz="1600" dirty="0" err="1"/>
              <a:t>by</a:t>
            </a:r>
            <a:r>
              <a:rPr lang="fi-FI" sz="1600" dirty="0"/>
              <a:t> </a:t>
            </a:r>
            <a:r>
              <a:rPr lang="fi-FI" sz="1600" dirty="0" err="1"/>
              <a:t>quarter</a:t>
            </a:r>
            <a:r>
              <a:rPr lang="fi-FI" sz="1600" dirty="0"/>
              <a:t>/</a:t>
            </a:r>
            <a:r>
              <a:rPr lang="fi-FI" sz="1600" dirty="0" err="1"/>
              <a:t>month</a:t>
            </a:r>
            <a:r>
              <a:rPr lang="fi-FI" sz="1600" dirty="0"/>
              <a:t> </a:t>
            </a:r>
            <a:r>
              <a:rPr lang="fi-FI" sz="1600" i="1" dirty="0"/>
              <a:t>#</a:t>
            </a:r>
            <a:r>
              <a:rPr lang="fi-FI" sz="1600" i="1" dirty="0" err="1"/>
              <a:t>user</a:t>
            </a:r>
            <a:r>
              <a:rPr lang="fi-FI" sz="1600" i="1" dirty="0"/>
              <a:t> </a:t>
            </a:r>
            <a:r>
              <a:rPr lang="fi-FI" sz="1600" i="1" dirty="0" err="1"/>
              <a:t>stories</a:t>
            </a:r>
            <a:endParaRPr lang="fi-FI" sz="1600" i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i-FI" sz="1600" dirty="0" err="1"/>
              <a:t>What</a:t>
            </a:r>
            <a:r>
              <a:rPr lang="fi-FI" sz="1600" dirty="0"/>
              <a:t> </a:t>
            </a:r>
            <a:r>
              <a:rPr lang="fi-FI" sz="1600" dirty="0" err="1"/>
              <a:t>kinds</a:t>
            </a:r>
            <a:r>
              <a:rPr lang="fi-FI" sz="1600" dirty="0"/>
              <a:t> of </a:t>
            </a:r>
            <a:r>
              <a:rPr lang="fi-FI" sz="1600" dirty="0" err="1"/>
              <a:t>work</a:t>
            </a:r>
            <a:r>
              <a:rPr lang="fi-FI" sz="1600" dirty="0"/>
              <a:t> </a:t>
            </a:r>
            <a:r>
              <a:rPr lang="fi-FI" sz="1600" dirty="0" err="1"/>
              <a:t>the</a:t>
            </a:r>
            <a:r>
              <a:rPr lang="fi-FI" sz="1600" dirty="0"/>
              <a:t> </a:t>
            </a:r>
            <a:r>
              <a:rPr lang="fi-FI" sz="1600" dirty="0" err="1"/>
              <a:t>teams</a:t>
            </a:r>
            <a:r>
              <a:rPr lang="fi-FI" sz="1600" dirty="0"/>
              <a:t> </a:t>
            </a:r>
            <a:r>
              <a:rPr lang="fi-FI" sz="1600" dirty="0" err="1"/>
              <a:t>are</a:t>
            </a:r>
            <a:r>
              <a:rPr lang="fi-FI" sz="1600" dirty="0"/>
              <a:t> </a:t>
            </a:r>
            <a:r>
              <a:rPr lang="fi-FI" sz="1600" dirty="0" err="1"/>
              <a:t>doing</a:t>
            </a:r>
            <a:r>
              <a:rPr lang="fi-FI" sz="1600" dirty="0"/>
              <a:t>  </a:t>
            </a:r>
            <a:r>
              <a:rPr lang="fi-FI" sz="1600" i="1" dirty="0"/>
              <a:t># </a:t>
            </a:r>
            <a:r>
              <a:rPr lang="fi-FI" sz="1600" i="1" dirty="0" err="1"/>
              <a:t>user</a:t>
            </a:r>
            <a:r>
              <a:rPr lang="fi-FI" sz="1600" i="1" dirty="0"/>
              <a:t> </a:t>
            </a:r>
            <a:r>
              <a:rPr lang="fi-FI" sz="1600" i="1" dirty="0" err="1"/>
              <a:t>stories</a:t>
            </a:r>
            <a:endParaRPr lang="fi-FI" sz="1600" i="1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Architectural</a:t>
            </a:r>
            <a:r>
              <a:rPr lang="fi-FI" sz="1400" dirty="0"/>
              <a:t> </a:t>
            </a:r>
            <a:r>
              <a:rPr lang="fi-FI" sz="1400" dirty="0" err="1"/>
              <a:t>foundation</a:t>
            </a:r>
            <a:endParaRPr lang="fi-FI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Refactoring</a:t>
            </a:r>
            <a:r>
              <a:rPr lang="fi-FI" sz="1400" dirty="0"/>
              <a:t> in </a:t>
            </a:r>
            <a:r>
              <a:rPr lang="fi-FI" sz="1400" dirty="0" err="1"/>
              <a:t>the</a:t>
            </a:r>
            <a:r>
              <a:rPr lang="fi-FI" sz="1400" dirty="0"/>
              <a:t> </a:t>
            </a:r>
            <a:r>
              <a:rPr lang="fi-FI" sz="1400" dirty="0" err="1"/>
              <a:t>large</a:t>
            </a:r>
            <a:endParaRPr lang="fi-FI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Customer</a:t>
            </a:r>
            <a:r>
              <a:rPr lang="fi-FI" sz="1400" dirty="0"/>
              <a:t> </a:t>
            </a:r>
            <a:r>
              <a:rPr lang="fi-FI" sz="1400" dirty="0" err="1"/>
              <a:t>specific</a:t>
            </a:r>
            <a:endParaRPr lang="fi-FI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i-FI" sz="1400" dirty="0"/>
              <a:t>Strategic </a:t>
            </a:r>
            <a:r>
              <a:rPr lang="fi-FI" sz="1400" dirty="0" err="1"/>
              <a:t>initiative</a:t>
            </a:r>
            <a:r>
              <a:rPr lang="fi-FI" sz="1400" dirty="0"/>
              <a:t> 1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i-FI" sz="1400" dirty="0"/>
              <a:t>Strategic </a:t>
            </a:r>
            <a:r>
              <a:rPr lang="fi-FI" sz="1400" dirty="0" err="1"/>
              <a:t>initiative</a:t>
            </a:r>
            <a:r>
              <a:rPr lang="fi-FI" sz="1400" dirty="0"/>
              <a:t> 2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Codebase</a:t>
            </a:r>
            <a:r>
              <a:rPr lang="fi-FI" sz="1400" dirty="0"/>
              <a:t> </a:t>
            </a:r>
            <a:r>
              <a:rPr lang="fi-FI" sz="1400" dirty="0" err="1"/>
              <a:t>capability</a:t>
            </a:r>
            <a:r>
              <a:rPr lang="fi-FI" sz="1400" dirty="0"/>
              <a:t> </a:t>
            </a:r>
            <a:r>
              <a:rPr lang="fi-FI" sz="1400" dirty="0" err="1"/>
              <a:t>view</a:t>
            </a:r>
            <a:endParaRPr lang="fi-FI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i-FI" sz="1400" dirty="0" err="1"/>
              <a:t>Which</a:t>
            </a:r>
            <a:r>
              <a:rPr lang="fi-FI" sz="1400" dirty="0"/>
              <a:t> </a:t>
            </a:r>
            <a:r>
              <a:rPr lang="fi-FI" sz="1400" dirty="0" err="1"/>
              <a:t>teams</a:t>
            </a:r>
            <a:r>
              <a:rPr lang="fi-FI" sz="1400" dirty="0"/>
              <a:t> </a:t>
            </a:r>
            <a:r>
              <a:rPr lang="fi-FI" sz="1400" dirty="0" err="1"/>
              <a:t>are</a:t>
            </a:r>
            <a:r>
              <a:rPr lang="fi-FI" sz="1400" dirty="0"/>
              <a:t> </a:t>
            </a:r>
            <a:r>
              <a:rPr lang="fi-FI" sz="1400" dirty="0" err="1"/>
              <a:t>changing</a:t>
            </a:r>
            <a:r>
              <a:rPr lang="fi-FI" sz="1400" dirty="0"/>
              <a:t> </a:t>
            </a:r>
            <a:r>
              <a:rPr lang="fi-FI" sz="1400" dirty="0" err="1"/>
              <a:t>what</a:t>
            </a:r>
            <a:r>
              <a:rPr lang="fi-FI" sz="1400" dirty="0"/>
              <a:t> </a:t>
            </a:r>
            <a:r>
              <a:rPr lang="fi-FI" sz="1400" dirty="0" err="1"/>
              <a:t>components</a:t>
            </a:r>
            <a:endParaRPr lang="fi-FI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i-FI" sz="1400" dirty="0"/>
              <a:t>Knowledge, </a:t>
            </a:r>
            <a:r>
              <a:rPr lang="fi-FI" sz="1400" dirty="0" err="1"/>
              <a:t>bottlenecks</a:t>
            </a:r>
            <a:endParaRPr lang="fi-FI" sz="1400" dirty="0"/>
          </a:p>
          <a:p>
            <a:pPr marL="1657350" lvl="3" indent="-285750">
              <a:buFont typeface="Arial" panose="020B0604020202020204" pitchFamily="34" charset="0"/>
              <a:buChar char="•"/>
            </a:pPr>
            <a:endParaRPr lang="fi-FI" sz="1400" dirty="0"/>
          </a:p>
          <a:p>
            <a:pPr marL="2114550" lvl="4" indent="-285750">
              <a:buFont typeface="Arial" panose="020B0604020202020204" pitchFamily="34" charset="0"/>
              <a:buChar char="•"/>
            </a:pPr>
            <a:endParaRPr lang="fi-FI" sz="1600" dirty="0"/>
          </a:p>
          <a:p>
            <a:pPr marL="633600" lvl="2"/>
            <a:r>
              <a:rPr lang="fi-FI" sz="1600" dirty="0"/>
              <a:t>		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E81523-0F53-F04B-A86C-0A5D074A1D16}"/>
              </a:ext>
            </a:extLst>
          </p:cNvPr>
          <p:cNvSpPr txBox="1"/>
          <p:nvPr/>
        </p:nvSpPr>
        <p:spPr>
          <a:xfrm>
            <a:off x="0" y="-2395"/>
            <a:ext cx="2117887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fi-FI" sz="1400" dirty="0" err="1"/>
              <a:t>Predictability</a:t>
            </a:r>
            <a:r>
              <a:rPr lang="fi-FI" sz="1400" dirty="0"/>
              <a:t> &amp; Plann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74F4B7-7D78-2140-98E9-B5C82C88FF71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29885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800" y="237600"/>
            <a:ext cx="8510400" cy="738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en-US" sz="2800" dirty="0">
                <a:solidFill>
                  <a:srgbClr val="0019AF"/>
                </a:solidFill>
              </a:rPr>
              <a:t>Last wor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800" y="1314000"/>
            <a:ext cx="6919496" cy="32040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Prove business value quickly - fresh food business </a:t>
            </a:r>
          </a:p>
          <a:p>
            <a:pPr lvl="1"/>
            <a:r>
              <a:rPr lang="en-US" sz="1100" b="1" dirty="0">
                <a:solidFill>
                  <a:schemeClr val="tx1"/>
                </a:solidFill>
              </a:rPr>
              <a:t>Fast to production </a:t>
            </a:r>
            <a:r>
              <a:rPr lang="en-US" sz="1100" dirty="0">
                <a:solidFill>
                  <a:schemeClr val="tx1"/>
                </a:solidFill>
              </a:rPr>
              <a:t>(weekly, daily or faster) – fast feedback &amp; learning cycle – Lean startup/Agile/Kanban</a:t>
            </a:r>
          </a:p>
          <a:p>
            <a:pPr lvl="1"/>
            <a:r>
              <a:rPr lang="en-US" sz="1100" b="1" dirty="0">
                <a:solidFill>
                  <a:schemeClr val="tx1"/>
                </a:solidFill>
              </a:rPr>
              <a:t>Common, interlocked goals </a:t>
            </a:r>
            <a:r>
              <a:rPr lang="en-US" sz="1100" dirty="0">
                <a:solidFill>
                  <a:schemeClr val="tx1"/>
                </a:solidFill>
              </a:rPr>
              <a:t>to all the team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Cost is only one parameter – too easily measured. </a:t>
            </a:r>
            <a:r>
              <a:rPr lang="en-US" sz="1100" b="1" dirty="0">
                <a:solidFill>
                  <a:schemeClr val="tx1"/>
                </a:solidFill>
              </a:rPr>
              <a:t>Measure output, flow and effectiveness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Long term commitment and support for improvement = leadership, management and culture</a:t>
            </a:r>
          </a:p>
          <a:p>
            <a:pPr lvl="1"/>
            <a:r>
              <a:rPr lang="en-US" sz="1100" b="1" dirty="0">
                <a:solidFill>
                  <a:schemeClr val="tx1"/>
                </a:solidFill>
              </a:rPr>
              <a:t>Small change every day </a:t>
            </a:r>
            <a:r>
              <a:rPr lang="en-US" sz="1100" dirty="0">
                <a:solidFill>
                  <a:schemeClr val="tx1"/>
                </a:solidFill>
              </a:rPr>
              <a:t>– many sprints of steady improvement can whittle down the largest issues</a:t>
            </a:r>
          </a:p>
          <a:p>
            <a:pPr marL="606143" lvl="2" indent="-285743"/>
            <a:r>
              <a:rPr lang="en-US" sz="1100" b="1" dirty="0">
                <a:solidFill>
                  <a:schemeClr val="tx1"/>
                </a:solidFill>
              </a:rPr>
              <a:t>Less Technical and Quality Debt = more flexibility</a:t>
            </a:r>
          </a:p>
          <a:p>
            <a:pPr marL="606143" lvl="2" indent="-285743"/>
            <a:r>
              <a:rPr lang="en-US" sz="1100" dirty="0"/>
              <a:t>Ways of working goals will make the teams better over time</a:t>
            </a:r>
            <a:endParaRPr lang="en-US" sz="1100" dirty="0">
              <a:solidFill>
                <a:schemeClr val="tx1"/>
              </a:solidFill>
            </a:endParaRPr>
          </a:p>
          <a:p>
            <a:pPr marL="606143" lvl="2" indent="-285743"/>
            <a:r>
              <a:rPr lang="en-US" sz="1100" dirty="0">
                <a:solidFill>
                  <a:schemeClr val="tx1"/>
                </a:solidFill>
              </a:rPr>
              <a:t>Ensure skillset availability at your locations</a:t>
            </a:r>
          </a:p>
          <a:p>
            <a:pPr marL="285743" lvl="1" indent="-285743"/>
            <a:endParaRPr lang="en-US" sz="1100" dirty="0">
              <a:solidFill>
                <a:schemeClr val="tx1"/>
              </a:solidFill>
            </a:endParaRPr>
          </a:p>
          <a:p>
            <a:pPr marL="285743" lvl="1" indent="-285743"/>
            <a:r>
              <a:rPr lang="en-US" sz="1100" dirty="0">
                <a:solidFill>
                  <a:schemeClr val="tx1"/>
                </a:solidFill>
              </a:rPr>
              <a:t>Do not build what you can get from open source or commercial</a:t>
            </a:r>
          </a:p>
          <a:p>
            <a:pPr marL="285743" lvl="1" indent="-285743"/>
            <a:endParaRPr lang="en-US" sz="1100" dirty="0">
              <a:solidFill>
                <a:schemeClr val="tx1"/>
              </a:solidFill>
            </a:endParaRPr>
          </a:p>
          <a:p>
            <a:pPr marL="285743" lvl="1" indent="-285743"/>
            <a:r>
              <a:rPr lang="en-US" sz="1100" b="1" dirty="0">
                <a:solidFill>
                  <a:schemeClr val="tx1"/>
                </a:solidFill>
              </a:rPr>
              <a:t>“Optimize” project portfolio over time</a:t>
            </a:r>
            <a:r>
              <a:rPr lang="en-US" sz="1100" dirty="0">
                <a:solidFill>
                  <a:schemeClr val="tx1"/>
                </a:solidFill>
              </a:rPr>
              <a:t> not single project</a:t>
            </a:r>
          </a:p>
          <a:p>
            <a:pPr marL="285743" lvl="1" indent="-285743"/>
            <a:endParaRPr lang="en-US" sz="1100" dirty="0">
              <a:solidFill>
                <a:schemeClr val="tx1"/>
              </a:solidFill>
            </a:endParaRPr>
          </a:p>
          <a:p>
            <a:pPr marL="285743" lvl="1" indent="-285743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F1A044-5585-A347-8014-753D2D4B56E6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46273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53841FE5-B63F-4048-A285-D742F22B587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5536" y="3083272"/>
            <a:ext cx="3696335" cy="185559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AC6249-2669-B543-B3DC-78C230F040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5</a:t>
            </a:fld>
            <a:endParaRPr lang="fi-FI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5C2F9A-7616-F744-AD61-9EA7B7C29A40}"/>
              </a:ext>
            </a:extLst>
          </p:cNvPr>
          <p:cNvSpPr txBox="1"/>
          <p:nvPr/>
        </p:nvSpPr>
        <p:spPr>
          <a:xfrm>
            <a:off x="251520" y="-29830"/>
            <a:ext cx="2835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 err="1"/>
              <a:t>Stuff</a:t>
            </a:r>
            <a:r>
              <a:rPr lang="fi-FI" dirty="0"/>
              <a:t> </a:t>
            </a:r>
            <a:r>
              <a:rPr lang="fi-FI" dirty="0" err="1"/>
              <a:t>I’ve</a:t>
            </a:r>
            <a:r>
              <a:rPr lang="fi-FI" dirty="0"/>
              <a:t> </a:t>
            </a:r>
            <a:r>
              <a:rPr lang="fi-FI" dirty="0" err="1"/>
              <a:t>done</a:t>
            </a:r>
            <a:r>
              <a:rPr lang="fi-FI" dirty="0"/>
              <a:t> </a:t>
            </a:r>
            <a:r>
              <a:rPr lang="fi-FI" dirty="0" err="1"/>
              <a:t>since</a:t>
            </a:r>
            <a:r>
              <a:rPr lang="fi-FI" dirty="0"/>
              <a:t> 1983</a:t>
            </a:r>
          </a:p>
        </p:txBody>
      </p:sp>
      <p:pic>
        <p:nvPicPr>
          <p:cNvPr id="9" name="Content Placeholder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2AD44C99-07B2-B04A-A52D-BE3A3BC95D8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tretch>
            <a:fillRect/>
          </a:stretch>
        </p:blipFill>
        <p:spPr>
          <a:xfrm>
            <a:off x="4540466" y="2391730"/>
            <a:ext cx="4459881" cy="22388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2D26A8-F2FA-4F4A-A71F-6E42707ECB0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1328" y="154836"/>
            <a:ext cx="6324600" cy="3175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926B491-33A0-4B44-A5F4-076F4EFBE5EC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20808301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!</a:t>
            </a:r>
          </a:p>
        </p:txBody>
      </p:sp>
    </p:spTree>
    <p:extLst>
      <p:ext uri="{BB962C8B-B14F-4D97-AF65-F5344CB8AC3E}">
        <p14:creationId xmlns:p14="http://schemas.microsoft.com/office/powerpoint/2010/main" val="67958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29190-40FD-174F-B670-194E6656615B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>
            <a:normAutofit/>
          </a:bodyPr>
          <a:lstStyle/>
          <a:p>
            <a:pPr fontAlgn="ctr">
              <a:lnSpc>
                <a:spcPct val="90000"/>
              </a:lnSpc>
            </a:pPr>
            <a:r>
              <a:rPr lang="en-GB" sz="1400" dirty="0"/>
              <a:t>What skills do you need in software and ICT nowadays and why? How can you gain them</a:t>
            </a:r>
            <a:br>
              <a:rPr lang="en-GB" sz="1400" dirty="0"/>
            </a:br>
            <a:endParaRPr lang="fi-FI" sz="1400" dirty="0"/>
          </a:p>
        </p:txBody>
      </p:sp>
      <p:graphicFrame>
        <p:nvGraphicFramePr>
          <p:cNvPr id="17" name="Content Placeholder 2">
            <a:extLst>
              <a:ext uri="{FF2B5EF4-FFF2-40B4-BE49-F238E27FC236}">
                <a16:creationId xmlns:a16="http://schemas.microsoft.com/office/drawing/2014/main" id="{AF86440A-9E47-4FC2-B3FF-D80F4DB6C45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05796705"/>
              </p:ext>
            </p:extLst>
          </p:nvPr>
        </p:nvGraphicFramePr>
        <p:xfrm>
          <a:off x="352800" y="1130400"/>
          <a:ext cx="7891608" cy="38176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954571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412177-925C-0043-A26F-86D6F2A6F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386" y="3634501"/>
            <a:ext cx="7543800" cy="1142245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GB" sz="2500" dirty="0"/>
              <a:t>What do companies need, how do they get more skilled workers?</a:t>
            </a:r>
            <a:br>
              <a:rPr lang="en-GB" sz="2500" dirty="0"/>
            </a:br>
            <a:endParaRPr lang="fi-FI" sz="2500" dirty="0"/>
          </a:p>
        </p:txBody>
      </p:sp>
      <p:graphicFrame>
        <p:nvGraphicFramePr>
          <p:cNvPr id="17" name="Content Placeholder 2">
            <a:extLst>
              <a:ext uri="{FF2B5EF4-FFF2-40B4-BE49-F238E27FC236}">
                <a16:creationId xmlns:a16="http://schemas.microsoft.com/office/drawing/2014/main" id="{97D01A31-264D-40B5-8E6B-698EEC50EDE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82599" y="475227"/>
          <a:ext cx="8178800" cy="24711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909007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AF4F31CF-DECF-4918-A3EC-9EFFEC49D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800" y="237600"/>
            <a:ext cx="8510400" cy="738000"/>
          </a:xfrm>
        </p:spPr>
        <p:txBody>
          <a:bodyPr/>
          <a:lstStyle/>
          <a:p>
            <a:r>
              <a:rPr lang="en-US" dirty="0"/>
              <a:t>Diversity in team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C220981-C66D-4047-9BC7-70D2C8FCC7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/>
              <a:t>Diversity of all kinds in the teams helps build the solutions the diverse world deserves and needs. </a:t>
            </a:r>
          </a:p>
          <a:p>
            <a:pPr marL="0" indent="0">
              <a:buNone/>
            </a:pPr>
            <a:r>
              <a:rPr lang="en-GB" b="1" dirty="0"/>
              <a:t>Co-operation with university helps expand the diversity. </a:t>
            </a:r>
            <a:br>
              <a:rPr lang="en-GB" dirty="0"/>
            </a:br>
            <a:endParaRPr lang="en-US" dirty="0"/>
          </a:p>
        </p:txBody>
      </p:sp>
      <p:graphicFrame>
        <p:nvGraphicFramePr>
          <p:cNvPr id="12" name="Content Placeholder 2">
            <a:extLst>
              <a:ext uri="{FF2B5EF4-FFF2-40B4-BE49-F238E27FC236}">
                <a16:creationId xmlns:a16="http://schemas.microsoft.com/office/drawing/2014/main" id="{10D3ADF8-EEDD-4CE3-A56A-96F10B8664EF}"/>
              </a:ext>
            </a:extLst>
          </p:cNvPr>
          <p:cNvGraphicFramePr>
            <a:graphicFrameLocks noGrp="1"/>
          </p:cNvGraphicFramePr>
          <p:nvPr>
            <p:ph idx="11"/>
          </p:nvPr>
        </p:nvGraphicFramePr>
        <p:xfrm>
          <a:off x="4680000" y="1130400"/>
          <a:ext cx="4140000" cy="32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14353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764F7-BB9B-EC4F-9510-4626D1045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" dirty="0"/>
              <a:t>Aspects of building software globally effectively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6A66BC-3D55-BF44-A68D-1F8FFAC488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" dirty="0"/>
              <a:t>Based on my experience across multiple companies - not a specific company – not any company view</a:t>
            </a:r>
          </a:p>
        </p:txBody>
      </p:sp>
      <p:pic>
        <p:nvPicPr>
          <p:cNvPr id="6" name="Picture 5" descr="A picture containing food&#10;&#10;Description automatically generated">
            <a:extLst>
              <a:ext uri="{FF2B5EF4-FFF2-40B4-BE49-F238E27FC236}">
                <a16:creationId xmlns:a16="http://schemas.microsoft.com/office/drawing/2014/main" id="{5948E059-2E18-E94F-9C99-C71C000F86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08" y="1721701"/>
            <a:ext cx="6324600" cy="3175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85AE6C8-C41E-0F46-A50D-1624AFF73E5C}"/>
              </a:ext>
            </a:extLst>
          </p:cNvPr>
          <p:cNvSpPr/>
          <p:nvPr/>
        </p:nvSpPr>
        <p:spPr>
          <a:xfrm>
            <a:off x="7164288" y="4915335"/>
            <a:ext cx="9492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00" dirty="0"/>
              <a:t>Hannu Kokko</a:t>
            </a:r>
          </a:p>
        </p:txBody>
      </p:sp>
    </p:spTree>
    <p:extLst>
      <p:ext uri="{BB962C8B-B14F-4D97-AF65-F5344CB8AC3E}">
        <p14:creationId xmlns:p14="http://schemas.microsoft.com/office/powerpoint/2010/main" val="207294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E575f2RqeqK8dc1hsztQ"/>
</p:tagLst>
</file>

<file path=ppt/theme/theme1.xml><?xml version="1.0" encoding="utf-8"?>
<a:theme xmlns:a="http://schemas.openxmlformats.org/drawingml/2006/main" name="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675956A4-B5FD-1142-83AA-97718708BA72}" vid="{963F52E8-86AE-7141-9A54-4F9A2365C6E1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51</TotalTime>
  <Words>4182</Words>
  <Application>Microsoft Macintosh PowerPoint</Application>
  <PresentationFormat>On-screen Show (16:9)</PresentationFormat>
  <Paragraphs>732</Paragraphs>
  <Slides>5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57" baseType="lpstr">
      <vt:lpstr>-apple-system</vt:lpstr>
      <vt:lpstr>Arial</vt:lpstr>
      <vt:lpstr>Segoe UI</vt:lpstr>
      <vt:lpstr>Times-Roman</vt:lpstr>
      <vt:lpstr>Wingdings</vt:lpstr>
      <vt:lpstr>elisa</vt:lpstr>
      <vt:lpstr>think-cell Slide</vt:lpstr>
      <vt:lpstr>Global Product Development</vt:lpstr>
      <vt:lpstr>PowerPoint Presentation</vt:lpstr>
      <vt:lpstr>Questions in the start</vt:lpstr>
      <vt:lpstr>Distributed Product Development  Fragments In My Story </vt:lpstr>
      <vt:lpstr>PowerPoint Presentation</vt:lpstr>
      <vt:lpstr>What skills do you need in software and ICT nowadays and why? How can you gain them </vt:lpstr>
      <vt:lpstr>What do companies need, how do they get more skilled workers? </vt:lpstr>
      <vt:lpstr>Diversity in teams</vt:lpstr>
      <vt:lpstr>Aspects of building software globally effectively</vt:lpstr>
      <vt:lpstr>The most important thing: People</vt:lpstr>
      <vt:lpstr>Some things I have found useful…</vt:lpstr>
      <vt:lpstr>Global Product Development Thoughts</vt:lpstr>
      <vt:lpstr>What are your company core competencies? What they should be?</vt:lpstr>
      <vt:lpstr>Agile Manifesto</vt:lpstr>
      <vt:lpstr>Working practices</vt:lpstr>
      <vt:lpstr>Agile: Nokia Test from 2007 is still a pretty good but basic canary</vt:lpstr>
      <vt:lpstr>Scrum</vt:lpstr>
      <vt:lpstr>Scrum </vt:lpstr>
      <vt:lpstr>PowerPoint Presentation</vt:lpstr>
      <vt:lpstr>PowerPoint Presentation</vt:lpstr>
      <vt:lpstr>Experiences from being PO for CI environments over 11 years</vt:lpstr>
      <vt:lpstr>Era of the CI, CD and DevOps 2007-2018+</vt:lpstr>
      <vt:lpstr>Faster feedback loops to learn faster Automate, Measure, make visible, optimize</vt:lpstr>
      <vt:lpstr>Use performance engineering to get faster – small change every sprint</vt:lpstr>
      <vt:lpstr>Process learnings for succeeding with large scale CI</vt:lpstr>
      <vt:lpstr>Lean principles – speed</vt:lpstr>
      <vt:lpstr>Lean principles – inventory</vt:lpstr>
      <vt:lpstr>Visibility in continuous integration</vt:lpstr>
      <vt:lpstr>Summary of the age of CI</vt:lpstr>
      <vt:lpstr>Traditional wastes of development</vt:lpstr>
      <vt:lpstr>Lean Startup - Effectiveness</vt:lpstr>
      <vt:lpstr>Lean principles in agile – Efficiency</vt:lpstr>
      <vt:lpstr>Principles of scaling Agile (from Less)</vt:lpstr>
      <vt:lpstr>Self organized team of teams differ from other forms of teams in several distinct ways</vt:lpstr>
      <vt:lpstr>PowerPoint Presentation</vt:lpstr>
      <vt:lpstr>Scale by enabling the teams</vt:lpstr>
      <vt:lpstr>Scale by improving ways of working</vt:lpstr>
      <vt:lpstr>Challenges in scaling</vt:lpstr>
      <vt:lpstr>World full of choices - opportunity or threat?</vt:lpstr>
      <vt:lpstr>World full of choices - opportunity or threat?</vt:lpstr>
      <vt:lpstr>PowerPoint Presentation</vt:lpstr>
      <vt:lpstr>Do not build without a really good reason…</vt:lpstr>
      <vt:lpstr>Consider with care do you really want to</vt:lpstr>
      <vt:lpstr>Think about lifetime of your system (applications and application portfolio)</vt:lpstr>
      <vt:lpstr>Predictability - Ways to keep your promises</vt:lpstr>
      <vt:lpstr>When you have to estimate: Capacity side</vt:lpstr>
      <vt:lpstr>When you have to estimate: Demand side</vt:lpstr>
      <vt:lpstr>Possible portfolio views</vt:lpstr>
      <vt:lpstr>Last words</vt:lpstr>
      <vt:lpstr>Thank You !</vt:lpstr>
    </vt:vector>
  </TitlesOfParts>
  <Manager/>
  <Company/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Development</dc:title>
  <dc:subject/>
  <dc:creator>Hannu Kokko</dc:creator>
  <cp:keywords/>
  <dc:description/>
  <cp:lastModifiedBy>Microsoft Office User</cp:lastModifiedBy>
  <cp:revision>80</cp:revision>
  <dcterms:created xsi:type="dcterms:W3CDTF">2019-10-27T16:53:42Z</dcterms:created>
  <dcterms:modified xsi:type="dcterms:W3CDTF">2019-12-09T09:31:59Z</dcterms:modified>
  <cp:category/>
</cp:coreProperties>
</file>